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heme/theme5.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0" r:id="rId4"/>
    <p:sldMasterId id="2147483761" r:id="rId5"/>
    <p:sldMasterId id="2147483786" r:id="rId6"/>
    <p:sldMasterId id="2147483800" r:id="rId7"/>
  </p:sldMasterIdLst>
  <p:notesMasterIdLst>
    <p:notesMasterId r:id="rId18"/>
  </p:notesMasterIdLst>
  <p:sldIdLst>
    <p:sldId id="473" r:id="rId8"/>
    <p:sldId id="1408" r:id="rId9"/>
    <p:sldId id="1401" r:id="rId10"/>
    <p:sldId id="1411" r:id="rId11"/>
    <p:sldId id="1410" r:id="rId12"/>
    <p:sldId id="1395" r:id="rId13"/>
    <p:sldId id="1396" r:id="rId14"/>
    <p:sldId id="1406" r:id="rId15"/>
    <p:sldId id="1400" r:id="rId16"/>
    <p:sldId id="1399" r:id="rId17"/>
  </p:sldIdLst>
  <p:sldSz cx="17373600" cy="10058400"/>
  <p:notesSz cx="7010400" cy="9296400"/>
  <p:defaultTex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819250"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1638501"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2457750"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3277000"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4096250" algn="l" defTabSz="819250" rtl="0" eaLnBrk="1" latinLnBrk="0" hangingPunct="1">
      <a:defRPr kern="1200">
        <a:solidFill>
          <a:schemeClr val="tx1"/>
        </a:solidFill>
        <a:latin typeface="Calibri" charset="0"/>
        <a:ea typeface="ＭＳ Ｐゴシック" charset="0"/>
        <a:cs typeface="ＭＳ Ｐゴシック" charset="0"/>
      </a:defRPr>
    </a:lvl6pPr>
    <a:lvl7pPr marL="4915499" algn="l" defTabSz="819250" rtl="0" eaLnBrk="1" latinLnBrk="0" hangingPunct="1">
      <a:defRPr kern="1200">
        <a:solidFill>
          <a:schemeClr val="tx1"/>
        </a:solidFill>
        <a:latin typeface="Calibri" charset="0"/>
        <a:ea typeface="ＭＳ Ｐゴシック" charset="0"/>
        <a:cs typeface="ＭＳ Ｐゴシック" charset="0"/>
      </a:defRPr>
    </a:lvl7pPr>
    <a:lvl8pPr marL="5734749" algn="l" defTabSz="819250" rtl="0" eaLnBrk="1" latinLnBrk="0" hangingPunct="1">
      <a:defRPr kern="1200">
        <a:solidFill>
          <a:schemeClr val="tx1"/>
        </a:solidFill>
        <a:latin typeface="Calibri" charset="0"/>
        <a:ea typeface="ＭＳ Ｐゴシック" charset="0"/>
        <a:cs typeface="ＭＳ Ｐゴシック" charset="0"/>
      </a:defRPr>
    </a:lvl8pPr>
    <a:lvl9pPr marL="6554000" algn="l" defTabSz="819250" rtl="0" eaLnBrk="1" latinLnBrk="0" hangingPunct="1">
      <a:defRPr kern="1200">
        <a:solidFill>
          <a:schemeClr val="tx1"/>
        </a:solidFill>
        <a:latin typeface="Calibri"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3168" userDrawn="1">
          <p15:clr>
            <a:srgbClr val="A4A3A4"/>
          </p15:clr>
        </p15:guide>
        <p15:guide id="2" pos="547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rause, David [CPCUS]" initials="KD[" lastIdx="1" clrIdx="0">
    <p:extLst>
      <p:ext uri="{19B8F6BF-5375-455C-9EA6-DF929625EA0E}">
        <p15:presenceInfo xmlns:p15="http://schemas.microsoft.com/office/powerpoint/2012/main" userId="S-1-5-21-1614895754-2146847981-1606980848-8011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6600"/>
    <a:srgbClr val="FFCC00"/>
    <a:srgbClr val="CBCBCB"/>
    <a:srgbClr val="19FF2F"/>
    <a:srgbClr val="FF0000"/>
    <a:srgbClr val="FFFF00"/>
    <a:srgbClr val="002060"/>
    <a:srgbClr val="00B050"/>
    <a:srgbClr val="000000"/>
    <a:srgbClr val="EFEF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57" autoAdjust="0"/>
    <p:restoredTop sz="92421" autoAdjust="0"/>
  </p:normalViewPr>
  <p:slideViewPr>
    <p:cSldViewPr snapToGrid="0">
      <p:cViewPr varScale="1">
        <p:scale>
          <a:sx n="55" d="100"/>
          <a:sy n="55" d="100"/>
        </p:scale>
        <p:origin x="192" y="88"/>
      </p:cViewPr>
      <p:guideLst>
        <p:guide orient="horz" pos="3168"/>
        <p:guide pos="5472"/>
      </p:guideLst>
    </p:cSldViewPr>
  </p:slideViewPr>
  <p:notesTextViewPr>
    <p:cViewPr>
      <p:scale>
        <a:sx n="1" d="1"/>
        <a:sy n="1" d="1"/>
      </p:scale>
      <p:origin x="0" y="0"/>
    </p:cViewPr>
  </p:notesTextViewPr>
  <p:sorterViewPr>
    <p:cViewPr varScale="1">
      <p:scale>
        <a:sx n="1" d="1"/>
        <a:sy n="1" d="1"/>
      </p:scale>
      <p:origin x="0" y="-371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eller, Steffen [MEDDE]" userId="S::smuell16@its.jnj.com::b42a0cb7-623f-4e02-8664-0d47b53bb204" providerId="AD" clId="Web-{29125C71-1DAA-AD30-737E-133CB3191740}"/>
    <pc:docChg chg="mod">
      <pc:chgData name="Mueller, Steffen [MEDDE]" userId="S::smuell16@its.jnj.com::b42a0cb7-623f-4e02-8664-0d47b53bb204" providerId="AD" clId="Web-{29125C71-1DAA-AD30-737E-133CB3191740}" dt="2022-11-28T14:05:25.110" v="0" actId="33475"/>
      <pc:docMkLst>
        <pc:docMk/>
      </pc:docMkLst>
    </pc:docChg>
  </pc:docChgLst>
  <pc:docChgLst>
    <pc:chgData name="Hagino, Mayu [JANJP]" userId="S::mhagino3@its.jnj.com::90699482-6b3e-479f-aef9-5595debdc6d5" providerId="AD" clId="Web-{FB67261C-4E6E-8A4B-4B45-5F7682CAB992}"/>
    <pc:docChg chg="mod modSld addMainMaster delMainMaster modMainMaster setSldSz">
      <pc:chgData name="Hagino, Mayu [JANJP]" userId="S::mhagino3@its.jnj.com::90699482-6b3e-479f-aef9-5595debdc6d5" providerId="AD" clId="Web-{FB67261C-4E6E-8A4B-4B45-5F7682CAB992}" dt="2019-11-12T08:58:02.817" v="25"/>
      <pc:docMkLst>
        <pc:docMk/>
      </pc:docMkLst>
      <pc:sldChg chg="modSp mod modClrScheme chgLayout">
        <pc:chgData name="Hagino, Mayu [JANJP]" userId="S::mhagino3@its.jnj.com::90699482-6b3e-479f-aef9-5595debdc6d5" providerId="AD" clId="Web-{FB67261C-4E6E-8A4B-4B45-5F7682CAB992}" dt="2019-11-12T08:58:02.817" v="25"/>
        <pc:sldMkLst>
          <pc:docMk/>
          <pc:sldMk cId="2412272154" sldId="473"/>
        </pc:sldMkLst>
        <pc:spChg chg="mod ord">
          <ac:chgData name="Hagino, Mayu [JANJP]" userId="S::mhagino3@its.jnj.com::90699482-6b3e-479f-aef9-5595debdc6d5" providerId="AD" clId="Web-{FB67261C-4E6E-8A4B-4B45-5F7682CAB992}" dt="2019-11-12T08:58:02.817" v="25"/>
          <ac:spMkLst>
            <pc:docMk/>
            <pc:sldMk cId="2412272154" sldId="473"/>
            <ac:spMk id="2" creationId="{F2106816-2A10-4893-8DFA-02C0D5C9BF01}"/>
          </ac:spMkLst>
        </pc:spChg>
        <pc:spChg chg="mod ord">
          <ac:chgData name="Hagino, Mayu [JANJP]" userId="S::mhagino3@its.jnj.com::90699482-6b3e-479f-aef9-5595debdc6d5" providerId="AD" clId="Web-{FB67261C-4E6E-8A4B-4B45-5F7682CAB992}" dt="2019-11-12T08:58:02.817" v="25"/>
          <ac:spMkLst>
            <pc:docMk/>
            <pc:sldMk cId="2412272154" sldId="473"/>
            <ac:spMk id="3" creationId="{D898DE33-C5EF-478B-98A1-C3F8DDC7E299}"/>
          </ac:spMkLst>
        </pc:spChg>
        <pc:spChg chg="mod ord">
          <ac:chgData name="Hagino, Mayu [JANJP]" userId="S::mhagino3@its.jnj.com::90699482-6b3e-479f-aef9-5595debdc6d5" providerId="AD" clId="Web-{FB67261C-4E6E-8A4B-4B45-5F7682CAB992}" dt="2019-11-12T08:58:02.817" v="25"/>
          <ac:spMkLst>
            <pc:docMk/>
            <pc:sldMk cId="2412272154" sldId="473"/>
            <ac:spMk id="4" creationId="{79479708-80CF-4BF0-8C57-4F2E32027F28}"/>
          </ac:spMkLst>
        </pc:spChg>
        <pc:picChg chg="mod">
          <ac:chgData name="Hagino, Mayu [JANJP]" userId="S::mhagino3@its.jnj.com::90699482-6b3e-479f-aef9-5595debdc6d5" providerId="AD" clId="Web-{FB67261C-4E6E-8A4B-4B45-5F7682CAB992}" dt="2019-11-12T08:58:02.739" v="24"/>
          <ac:picMkLst>
            <pc:docMk/>
            <pc:sldMk cId="2412272154" sldId="473"/>
            <ac:picMk id="5" creationId="{42B0CF0B-95C3-4594-8EA6-F0D43FB54464}"/>
          </ac:picMkLst>
        </pc:picChg>
      </pc:sldChg>
      <pc:sldChg chg="modSp mod modClrScheme chgLayout">
        <pc:chgData name="Hagino, Mayu [JANJP]" userId="S::mhagino3@its.jnj.com::90699482-6b3e-479f-aef9-5595debdc6d5" providerId="AD" clId="Web-{FB67261C-4E6E-8A4B-4B45-5F7682CAB992}" dt="2019-11-12T08:58:02.817" v="25"/>
        <pc:sldMkLst>
          <pc:docMk/>
          <pc:sldMk cId="1465686527" sldId="1395"/>
        </pc:sldMkLst>
        <pc:spChg chg="mod ord">
          <ac:chgData name="Hagino, Mayu [JANJP]" userId="S::mhagino3@its.jnj.com::90699482-6b3e-479f-aef9-5595debdc6d5" providerId="AD" clId="Web-{FB67261C-4E6E-8A4B-4B45-5F7682CAB992}" dt="2019-11-12T08:58:02.817" v="25"/>
          <ac:spMkLst>
            <pc:docMk/>
            <pc:sldMk cId="1465686527" sldId="1395"/>
            <ac:spMk id="2" creationId="{77AB3BD7-7CA0-4A53-A8A6-522C56444758}"/>
          </ac:spMkLst>
        </pc:spChg>
        <pc:spChg chg="mod">
          <ac:chgData name="Hagino, Mayu [JANJP]" userId="S::mhagino3@its.jnj.com::90699482-6b3e-479f-aef9-5595debdc6d5" providerId="AD" clId="Web-{FB67261C-4E6E-8A4B-4B45-5F7682CAB992}" dt="2019-11-12T08:58:02.739" v="24"/>
          <ac:spMkLst>
            <pc:docMk/>
            <pc:sldMk cId="1465686527" sldId="1395"/>
            <ac:spMk id="4" creationId="{01DF8CF6-7F7A-43D8-B75C-2B579B5D35AD}"/>
          </ac:spMkLst>
        </pc:spChg>
        <pc:spChg chg="mod">
          <ac:chgData name="Hagino, Mayu [JANJP]" userId="S::mhagino3@its.jnj.com::90699482-6b3e-479f-aef9-5595debdc6d5" providerId="AD" clId="Web-{FB67261C-4E6E-8A4B-4B45-5F7682CAB992}" dt="2019-11-12T08:58:02.739" v="24"/>
          <ac:spMkLst>
            <pc:docMk/>
            <pc:sldMk cId="1465686527" sldId="1395"/>
            <ac:spMk id="6" creationId="{AFB7B305-71E1-4589-A12E-AE0C306161F8}"/>
          </ac:spMkLst>
        </pc:spChg>
      </pc:sldChg>
      <pc:sldChg chg="modSp mod modClrScheme chgLayout">
        <pc:chgData name="Hagino, Mayu [JANJP]" userId="S::mhagino3@its.jnj.com::90699482-6b3e-479f-aef9-5595debdc6d5" providerId="AD" clId="Web-{FB67261C-4E6E-8A4B-4B45-5F7682CAB992}" dt="2019-11-12T08:58:02.817" v="25"/>
        <pc:sldMkLst>
          <pc:docMk/>
          <pc:sldMk cId="4194028848" sldId="1396"/>
        </pc:sldMkLst>
        <pc:spChg chg="mod ord">
          <ac:chgData name="Hagino, Mayu [JANJP]" userId="S::mhagino3@its.jnj.com::90699482-6b3e-479f-aef9-5595debdc6d5" providerId="AD" clId="Web-{FB67261C-4E6E-8A4B-4B45-5F7682CAB992}" dt="2019-11-12T08:58:02.817" v="25"/>
          <ac:spMkLst>
            <pc:docMk/>
            <pc:sldMk cId="4194028848" sldId="1396"/>
            <ac:spMk id="2" creationId="{77AB3BD7-7CA0-4A53-A8A6-522C56444758}"/>
          </ac:spMkLst>
        </pc:spChg>
        <pc:graphicFrameChg chg="mod modGraphic">
          <ac:chgData name="Hagino, Mayu [JANJP]" userId="S::mhagino3@its.jnj.com::90699482-6b3e-479f-aef9-5595debdc6d5" providerId="AD" clId="Web-{FB67261C-4E6E-8A4B-4B45-5F7682CAB992}" dt="2019-11-12T08:58:02.739" v="24"/>
          <ac:graphicFrameMkLst>
            <pc:docMk/>
            <pc:sldMk cId="4194028848" sldId="1396"/>
            <ac:graphicFrameMk id="3" creationId="{EA859ACE-96FC-4EEF-BBB2-A67D40CDF277}"/>
          </ac:graphicFrameMkLst>
        </pc:graphicFrameChg>
        <pc:picChg chg="mod">
          <ac:chgData name="Hagino, Mayu [JANJP]" userId="S::mhagino3@its.jnj.com::90699482-6b3e-479f-aef9-5595debdc6d5" providerId="AD" clId="Web-{FB67261C-4E6E-8A4B-4B45-5F7682CAB992}" dt="2019-11-12T08:58:02.739" v="24"/>
          <ac:picMkLst>
            <pc:docMk/>
            <pc:sldMk cId="4194028848" sldId="1396"/>
            <ac:picMk id="4" creationId="{20F97DC5-F60F-4600-A20E-0FA256B33AFE}"/>
          </ac:picMkLst>
        </pc:picChg>
        <pc:picChg chg="mod">
          <ac:chgData name="Hagino, Mayu [JANJP]" userId="S::mhagino3@its.jnj.com::90699482-6b3e-479f-aef9-5595debdc6d5" providerId="AD" clId="Web-{FB67261C-4E6E-8A4B-4B45-5F7682CAB992}" dt="2019-11-12T08:58:02.739" v="24"/>
          <ac:picMkLst>
            <pc:docMk/>
            <pc:sldMk cId="4194028848" sldId="1396"/>
            <ac:picMk id="6" creationId="{E13F26B5-5783-4E65-8079-81D033DD8F13}"/>
          </ac:picMkLst>
        </pc:picChg>
        <pc:picChg chg="mod">
          <ac:chgData name="Hagino, Mayu [JANJP]" userId="S::mhagino3@its.jnj.com::90699482-6b3e-479f-aef9-5595debdc6d5" providerId="AD" clId="Web-{FB67261C-4E6E-8A4B-4B45-5F7682CAB992}" dt="2019-11-12T08:58:02.739" v="24"/>
          <ac:picMkLst>
            <pc:docMk/>
            <pc:sldMk cId="4194028848" sldId="1396"/>
            <ac:picMk id="7" creationId="{CA0560CE-BE67-4D7D-9574-3EE1644CB8D9}"/>
          </ac:picMkLst>
        </pc:picChg>
      </pc:sldChg>
      <pc:sldChg chg="modSp mod modClrScheme chgLayout">
        <pc:chgData name="Hagino, Mayu [JANJP]" userId="S::mhagino3@its.jnj.com::90699482-6b3e-479f-aef9-5595debdc6d5" providerId="AD" clId="Web-{FB67261C-4E6E-8A4B-4B45-5F7682CAB992}" dt="2019-11-12T08:58:02.817" v="25"/>
        <pc:sldMkLst>
          <pc:docMk/>
          <pc:sldMk cId="2697792268" sldId="1399"/>
        </pc:sldMkLst>
        <pc:spChg chg="mod ord">
          <ac:chgData name="Hagino, Mayu [JANJP]" userId="S::mhagino3@its.jnj.com::90699482-6b3e-479f-aef9-5595debdc6d5" providerId="AD" clId="Web-{FB67261C-4E6E-8A4B-4B45-5F7682CAB992}" dt="2019-11-12T08:58:02.817" v="25"/>
          <ac:spMkLst>
            <pc:docMk/>
            <pc:sldMk cId="2697792268" sldId="1399"/>
            <ac:spMk id="2" creationId="{77AB3BD7-7CA0-4A53-A8A6-522C56444758}"/>
          </ac:spMkLst>
        </pc:spChg>
        <pc:graphicFrameChg chg="mod modGraphic">
          <ac:chgData name="Hagino, Mayu [JANJP]" userId="S::mhagino3@its.jnj.com::90699482-6b3e-479f-aef9-5595debdc6d5" providerId="AD" clId="Web-{FB67261C-4E6E-8A4B-4B45-5F7682CAB992}" dt="2019-11-12T08:58:02.739" v="24"/>
          <ac:graphicFrameMkLst>
            <pc:docMk/>
            <pc:sldMk cId="2697792268" sldId="1399"/>
            <ac:graphicFrameMk id="7" creationId="{4E9111F2-7E82-4B57-B5CB-1D1F787E04E5}"/>
          </ac:graphicFrameMkLst>
        </pc:graphicFrameChg>
      </pc:sldChg>
      <pc:sldChg chg="modSp mod modClrScheme chgLayout">
        <pc:chgData name="Hagino, Mayu [JANJP]" userId="S::mhagino3@its.jnj.com::90699482-6b3e-479f-aef9-5595debdc6d5" providerId="AD" clId="Web-{FB67261C-4E6E-8A4B-4B45-5F7682CAB992}" dt="2019-11-12T08:58:02.817" v="25"/>
        <pc:sldMkLst>
          <pc:docMk/>
          <pc:sldMk cId="853611579" sldId="1400"/>
        </pc:sldMkLst>
        <pc:spChg chg="mod ord">
          <ac:chgData name="Hagino, Mayu [JANJP]" userId="S::mhagino3@its.jnj.com::90699482-6b3e-479f-aef9-5595debdc6d5" providerId="AD" clId="Web-{FB67261C-4E6E-8A4B-4B45-5F7682CAB992}" dt="2019-11-12T08:58:02.817" v="25"/>
          <ac:spMkLst>
            <pc:docMk/>
            <pc:sldMk cId="853611579" sldId="1400"/>
            <ac:spMk id="2" creationId="{77AB3BD7-7CA0-4A53-A8A6-522C56444758}"/>
          </ac:spMkLst>
        </pc:spChg>
        <pc:graphicFrameChg chg="mod modGraphic">
          <ac:chgData name="Hagino, Mayu [JANJP]" userId="S::mhagino3@its.jnj.com::90699482-6b3e-479f-aef9-5595debdc6d5" providerId="AD" clId="Web-{FB67261C-4E6E-8A4B-4B45-5F7682CAB992}" dt="2019-11-12T08:58:02.739" v="24"/>
          <ac:graphicFrameMkLst>
            <pc:docMk/>
            <pc:sldMk cId="853611579" sldId="1400"/>
            <ac:graphicFrameMk id="4" creationId="{8F9F765C-4D15-4C0E-8906-C69ABF806607}"/>
          </ac:graphicFrameMkLst>
        </pc:graphicFrameChg>
      </pc:sldChg>
      <pc:sldChg chg="modSp mod modClrScheme chgLayout">
        <pc:chgData name="Hagino, Mayu [JANJP]" userId="S::mhagino3@its.jnj.com::90699482-6b3e-479f-aef9-5595debdc6d5" providerId="AD" clId="Web-{FB67261C-4E6E-8A4B-4B45-5F7682CAB992}" dt="2019-11-12T08:58:02.817" v="25"/>
        <pc:sldMkLst>
          <pc:docMk/>
          <pc:sldMk cId="3222145552" sldId="1401"/>
        </pc:sldMkLst>
        <pc:spChg chg="mod ord">
          <ac:chgData name="Hagino, Mayu [JANJP]" userId="S::mhagino3@its.jnj.com::90699482-6b3e-479f-aef9-5595debdc6d5" providerId="AD" clId="Web-{FB67261C-4E6E-8A4B-4B45-5F7682CAB992}" dt="2019-11-12T08:58:02.817" v="25"/>
          <ac:spMkLst>
            <pc:docMk/>
            <pc:sldMk cId="3222145552" sldId="1401"/>
            <ac:spMk id="2" creationId="{77AB3BD7-7CA0-4A53-A8A6-522C56444758}"/>
          </ac:spMkLst>
        </pc:spChg>
        <pc:spChg chg="mod">
          <ac:chgData name="Hagino, Mayu [JANJP]" userId="S::mhagino3@its.jnj.com::90699482-6b3e-479f-aef9-5595debdc6d5" providerId="AD" clId="Web-{FB67261C-4E6E-8A4B-4B45-5F7682CAB992}" dt="2019-11-12T08:58:02.739" v="24"/>
          <ac:spMkLst>
            <pc:docMk/>
            <pc:sldMk cId="3222145552" sldId="1401"/>
            <ac:spMk id="3" creationId="{FC170E9A-60B9-40A9-9C90-D1541A277802}"/>
          </ac:spMkLst>
        </pc:spChg>
        <pc:spChg chg="mod">
          <ac:chgData name="Hagino, Mayu [JANJP]" userId="S::mhagino3@its.jnj.com::90699482-6b3e-479f-aef9-5595debdc6d5" providerId="AD" clId="Web-{FB67261C-4E6E-8A4B-4B45-5F7682CAB992}" dt="2019-11-12T08:58:02.739" v="24"/>
          <ac:spMkLst>
            <pc:docMk/>
            <pc:sldMk cId="3222145552" sldId="1401"/>
            <ac:spMk id="4" creationId="{4DA24A89-F705-44A2-B6A3-2722A2721C58}"/>
          </ac:spMkLst>
        </pc:spChg>
        <pc:spChg chg="mod">
          <ac:chgData name="Hagino, Mayu [JANJP]" userId="S::mhagino3@its.jnj.com::90699482-6b3e-479f-aef9-5595debdc6d5" providerId="AD" clId="Web-{FB67261C-4E6E-8A4B-4B45-5F7682CAB992}" dt="2019-11-12T08:58:02.739" v="24"/>
          <ac:spMkLst>
            <pc:docMk/>
            <pc:sldMk cId="3222145552" sldId="1401"/>
            <ac:spMk id="6" creationId="{66EA656A-E171-4802-B5C4-1726BC021834}"/>
          </ac:spMkLst>
        </pc:spChg>
        <pc:spChg chg="mod">
          <ac:chgData name="Hagino, Mayu [JANJP]" userId="S::mhagino3@its.jnj.com::90699482-6b3e-479f-aef9-5595debdc6d5" providerId="AD" clId="Web-{FB67261C-4E6E-8A4B-4B45-5F7682CAB992}" dt="2019-11-12T08:58:02.739" v="24"/>
          <ac:spMkLst>
            <pc:docMk/>
            <pc:sldMk cId="3222145552" sldId="1401"/>
            <ac:spMk id="8" creationId="{EAD0EDAE-B4C1-43B4-BB88-27D6D9AB1A4A}"/>
          </ac:spMkLst>
        </pc:spChg>
      </pc:sldChg>
      <pc:sldChg chg="modSp mod modClrScheme chgLayout">
        <pc:chgData name="Hagino, Mayu [JANJP]" userId="S::mhagino3@its.jnj.com::90699482-6b3e-479f-aef9-5595debdc6d5" providerId="AD" clId="Web-{FB67261C-4E6E-8A4B-4B45-5F7682CAB992}" dt="2019-11-12T08:58:02.817" v="25"/>
        <pc:sldMkLst>
          <pc:docMk/>
          <pc:sldMk cId="1063953637" sldId="1406"/>
        </pc:sldMkLst>
        <pc:spChg chg="mod ord">
          <ac:chgData name="Hagino, Mayu [JANJP]" userId="S::mhagino3@its.jnj.com::90699482-6b3e-479f-aef9-5595debdc6d5" providerId="AD" clId="Web-{FB67261C-4E6E-8A4B-4B45-5F7682CAB992}" dt="2019-11-12T08:58:02.817" v="25"/>
          <ac:spMkLst>
            <pc:docMk/>
            <pc:sldMk cId="1063953637" sldId="1406"/>
            <ac:spMk id="2" creationId="{77AB3BD7-7CA0-4A53-A8A6-522C56444758}"/>
          </ac:spMkLst>
        </pc:spChg>
        <pc:spChg chg="mod">
          <ac:chgData name="Hagino, Mayu [JANJP]" userId="S::mhagino3@its.jnj.com::90699482-6b3e-479f-aef9-5595debdc6d5" providerId="AD" clId="Web-{FB67261C-4E6E-8A4B-4B45-5F7682CAB992}" dt="2019-11-12T08:58:02.739" v="24"/>
          <ac:spMkLst>
            <pc:docMk/>
            <pc:sldMk cId="1063953637" sldId="1406"/>
            <ac:spMk id="3" creationId="{62B7079C-711C-40B8-92DF-4FB9D68799D1}"/>
          </ac:spMkLst>
        </pc:spChg>
        <pc:spChg chg="mod">
          <ac:chgData name="Hagino, Mayu [JANJP]" userId="S::mhagino3@its.jnj.com::90699482-6b3e-479f-aef9-5595debdc6d5" providerId="AD" clId="Web-{FB67261C-4E6E-8A4B-4B45-5F7682CAB992}" dt="2019-11-12T08:58:02.739" v="24"/>
          <ac:spMkLst>
            <pc:docMk/>
            <pc:sldMk cId="1063953637" sldId="1406"/>
            <ac:spMk id="6" creationId="{F848A74F-E223-464D-9E9D-AE17BA3BFEAD}"/>
          </ac:spMkLst>
        </pc:spChg>
        <pc:spChg chg="mod">
          <ac:chgData name="Hagino, Mayu [JANJP]" userId="S::mhagino3@its.jnj.com::90699482-6b3e-479f-aef9-5595debdc6d5" providerId="AD" clId="Web-{FB67261C-4E6E-8A4B-4B45-5F7682CAB992}" dt="2019-11-12T08:58:02.739" v="24"/>
          <ac:spMkLst>
            <pc:docMk/>
            <pc:sldMk cId="1063953637" sldId="1406"/>
            <ac:spMk id="12" creationId="{C5941CC7-E794-4400-902F-D5D01DC16CB2}"/>
          </ac:spMkLst>
        </pc:spChg>
        <pc:spChg chg="mod">
          <ac:chgData name="Hagino, Mayu [JANJP]" userId="S::mhagino3@its.jnj.com::90699482-6b3e-479f-aef9-5595debdc6d5" providerId="AD" clId="Web-{FB67261C-4E6E-8A4B-4B45-5F7682CAB992}" dt="2019-11-12T08:58:02.739" v="24"/>
          <ac:spMkLst>
            <pc:docMk/>
            <pc:sldMk cId="1063953637" sldId="1406"/>
            <ac:spMk id="19" creationId="{0365953F-0936-4F75-B504-1252B453FD54}"/>
          </ac:spMkLst>
        </pc:spChg>
        <pc:spChg chg="mod">
          <ac:chgData name="Hagino, Mayu [JANJP]" userId="S::mhagino3@its.jnj.com::90699482-6b3e-479f-aef9-5595debdc6d5" providerId="AD" clId="Web-{FB67261C-4E6E-8A4B-4B45-5F7682CAB992}" dt="2019-11-12T08:58:02.739" v="24"/>
          <ac:spMkLst>
            <pc:docMk/>
            <pc:sldMk cId="1063953637" sldId="1406"/>
            <ac:spMk id="20" creationId="{75833AE8-BAEB-42D6-9F0C-93980B6A4166}"/>
          </ac:spMkLst>
        </pc:spChg>
        <pc:spChg chg="mod">
          <ac:chgData name="Hagino, Mayu [JANJP]" userId="S::mhagino3@its.jnj.com::90699482-6b3e-479f-aef9-5595debdc6d5" providerId="AD" clId="Web-{FB67261C-4E6E-8A4B-4B45-5F7682CAB992}" dt="2019-11-12T08:58:02.739" v="24"/>
          <ac:spMkLst>
            <pc:docMk/>
            <pc:sldMk cId="1063953637" sldId="1406"/>
            <ac:spMk id="25" creationId="{ED3D3864-C843-450E-AEEF-C6658F0D6387}"/>
          </ac:spMkLst>
        </pc:spChg>
        <pc:spChg chg="mod">
          <ac:chgData name="Hagino, Mayu [JANJP]" userId="S::mhagino3@its.jnj.com::90699482-6b3e-479f-aef9-5595debdc6d5" providerId="AD" clId="Web-{FB67261C-4E6E-8A4B-4B45-5F7682CAB992}" dt="2019-11-12T08:58:02.739" v="24"/>
          <ac:spMkLst>
            <pc:docMk/>
            <pc:sldMk cId="1063953637" sldId="1406"/>
            <ac:spMk id="26" creationId="{9491BF45-CC73-4843-8210-34EBB6575750}"/>
          </ac:spMkLst>
        </pc:spChg>
        <pc:spChg chg="mod">
          <ac:chgData name="Hagino, Mayu [JANJP]" userId="S::mhagino3@its.jnj.com::90699482-6b3e-479f-aef9-5595debdc6d5" providerId="AD" clId="Web-{FB67261C-4E6E-8A4B-4B45-5F7682CAB992}" dt="2019-11-12T08:58:02.739" v="24"/>
          <ac:spMkLst>
            <pc:docMk/>
            <pc:sldMk cId="1063953637" sldId="1406"/>
            <ac:spMk id="27" creationId="{CB86523D-2718-4979-AEC8-9199CDDE5235}"/>
          </ac:spMkLst>
        </pc:spChg>
        <pc:spChg chg="mod">
          <ac:chgData name="Hagino, Mayu [JANJP]" userId="S::mhagino3@its.jnj.com::90699482-6b3e-479f-aef9-5595debdc6d5" providerId="AD" clId="Web-{FB67261C-4E6E-8A4B-4B45-5F7682CAB992}" dt="2019-11-12T08:58:02.739" v="24"/>
          <ac:spMkLst>
            <pc:docMk/>
            <pc:sldMk cId="1063953637" sldId="1406"/>
            <ac:spMk id="37" creationId="{AA5A552E-4378-489A-B5DF-B85BA00C12E4}"/>
          </ac:spMkLst>
        </pc:spChg>
        <pc:spChg chg="mod">
          <ac:chgData name="Hagino, Mayu [JANJP]" userId="S::mhagino3@its.jnj.com::90699482-6b3e-479f-aef9-5595debdc6d5" providerId="AD" clId="Web-{FB67261C-4E6E-8A4B-4B45-5F7682CAB992}" dt="2019-11-12T08:58:02.739" v="24"/>
          <ac:spMkLst>
            <pc:docMk/>
            <pc:sldMk cId="1063953637" sldId="1406"/>
            <ac:spMk id="47" creationId="{05CB87BB-73D5-465E-888D-36C5856D9B41}"/>
          </ac:spMkLst>
        </pc:spChg>
        <pc:grpChg chg="mod">
          <ac:chgData name="Hagino, Mayu [JANJP]" userId="S::mhagino3@its.jnj.com::90699482-6b3e-479f-aef9-5595debdc6d5" providerId="AD" clId="Web-{FB67261C-4E6E-8A4B-4B45-5F7682CAB992}" dt="2019-11-12T08:58:02.739" v="24"/>
          <ac:grpSpMkLst>
            <pc:docMk/>
            <pc:sldMk cId="1063953637" sldId="1406"/>
            <ac:grpSpMk id="46" creationId="{C088B461-3043-4053-8E31-B1D69AF6F9C5}"/>
          </ac:grpSpMkLst>
        </pc:grpChg>
        <pc:graphicFrameChg chg="mod modGraphic">
          <ac:chgData name="Hagino, Mayu [JANJP]" userId="S::mhagino3@its.jnj.com::90699482-6b3e-479f-aef9-5595debdc6d5" providerId="AD" clId="Web-{FB67261C-4E6E-8A4B-4B45-5F7682CAB992}" dt="2019-11-12T08:58:02.739" v="24"/>
          <ac:graphicFrameMkLst>
            <pc:docMk/>
            <pc:sldMk cId="1063953637" sldId="1406"/>
            <ac:graphicFrameMk id="40" creationId="{7076BFDE-9676-44DA-A7D4-341A56430FD6}"/>
          </ac:graphicFrameMkLst>
        </pc:graphicFrameChg>
      </pc:sldChg>
      <pc:sldChg chg="modSp mod modClrScheme chgLayout">
        <pc:chgData name="Hagino, Mayu [JANJP]" userId="S::mhagino3@its.jnj.com::90699482-6b3e-479f-aef9-5595debdc6d5" providerId="AD" clId="Web-{FB67261C-4E6E-8A4B-4B45-5F7682CAB992}" dt="2019-11-12T08:58:02.817" v="25"/>
        <pc:sldMkLst>
          <pc:docMk/>
          <pc:sldMk cId="314453031" sldId="1408"/>
        </pc:sldMkLst>
        <pc:spChg chg="mod ord">
          <ac:chgData name="Hagino, Mayu [JANJP]" userId="S::mhagino3@its.jnj.com::90699482-6b3e-479f-aef9-5595debdc6d5" providerId="AD" clId="Web-{FB67261C-4E6E-8A4B-4B45-5F7682CAB992}" dt="2019-11-12T08:58:02.817" v="25"/>
          <ac:spMkLst>
            <pc:docMk/>
            <pc:sldMk cId="314453031" sldId="1408"/>
            <ac:spMk id="2" creationId="{77AB3BD7-7CA0-4A53-A8A6-522C56444758}"/>
          </ac:spMkLst>
        </pc:spChg>
        <pc:picChg chg="mod">
          <ac:chgData name="Hagino, Mayu [JANJP]" userId="S::mhagino3@its.jnj.com::90699482-6b3e-479f-aef9-5595debdc6d5" providerId="AD" clId="Web-{FB67261C-4E6E-8A4B-4B45-5F7682CAB992}" dt="2019-11-12T08:58:02.739" v="24"/>
          <ac:picMkLst>
            <pc:docMk/>
            <pc:sldMk cId="314453031" sldId="1408"/>
            <ac:picMk id="6" creationId="{F580856C-81E6-4366-819D-11510F5A8EB4}"/>
          </ac:picMkLst>
        </pc:picChg>
      </pc:sldChg>
      <pc:sldChg chg="modSp mod modClrScheme chgLayout">
        <pc:chgData name="Hagino, Mayu [JANJP]" userId="S::mhagino3@its.jnj.com::90699482-6b3e-479f-aef9-5595debdc6d5" providerId="AD" clId="Web-{FB67261C-4E6E-8A4B-4B45-5F7682CAB992}" dt="2019-11-12T08:58:02.817" v="25"/>
        <pc:sldMkLst>
          <pc:docMk/>
          <pc:sldMk cId="1856552062" sldId="1410"/>
        </pc:sldMkLst>
        <pc:spChg chg="mod ord">
          <ac:chgData name="Hagino, Mayu [JANJP]" userId="S::mhagino3@its.jnj.com::90699482-6b3e-479f-aef9-5595debdc6d5" providerId="AD" clId="Web-{FB67261C-4E6E-8A4B-4B45-5F7682CAB992}" dt="2019-11-12T08:58:02.817" v="25"/>
          <ac:spMkLst>
            <pc:docMk/>
            <pc:sldMk cId="1856552062" sldId="1410"/>
            <ac:spMk id="2" creationId="{77AB3BD7-7CA0-4A53-A8A6-522C56444758}"/>
          </ac:spMkLst>
        </pc:spChg>
        <pc:spChg chg="mod">
          <ac:chgData name="Hagino, Mayu [JANJP]" userId="S::mhagino3@its.jnj.com::90699482-6b3e-479f-aef9-5595debdc6d5" providerId="AD" clId="Web-{FB67261C-4E6E-8A4B-4B45-5F7682CAB992}" dt="2019-11-12T08:58:02.739" v="24"/>
          <ac:spMkLst>
            <pc:docMk/>
            <pc:sldMk cId="1856552062" sldId="1410"/>
            <ac:spMk id="4" creationId="{4DA24A89-F705-44A2-B6A3-2722A2721C58}"/>
          </ac:spMkLst>
        </pc:spChg>
        <pc:spChg chg="mod">
          <ac:chgData name="Hagino, Mayu [JANJP]" userId="S::mhagino3@its.jnj.com::90699482-6b3e-479f-aef9-5595debdc6d5" providerId="AD" clId="Web-{FB67261C-4E6E-8A4B-4B45-5F7682CAB992}" dt="2019-11-12T08:58:02.739" v="24"/>
          <ac:spMkLst>
            <pc:docMk/>
            <pc:sldMk cId="1856552062" sldId="1410"/>
            <ac:spMk id="5" creationId="{F9C656CF-FC69-4329-BF80-CCEB60791DCE}"/>
          </ac:spMkLst>
        </pc:spChg>
      </pc:sldChg>
      <pc:sldChg chg="modSp mod modClrScheme chgLayout">
        <pc:chgData name="Hagino, Mayu [JANJP]" userId="S::mhagino3@its.jnj.com::90699482-6b3e-479f-aef9-5595debdc6d5" providerId="AD" clId="Web-{FB67261C-4E6E-8A4B-4B45-5F7682CAB992}" dt="2019-11-12T08:58:02.817" v="25"/>
        <pc:sldMkLst>
          <pc:docMk/>
          <pc:sldMk cId="2011662251" sldId="1411"/>
        </pc:sldMkLst>
        <pc:spChg chg="mod ord">
          <ac:chgData name="Hagino, Mayu [JANJP]" userId="S::mhagino3@its.jnj.com::90699482-6b3e-479f-aef9-5595debdc6d5" providerId="AD" clId="Web-{FB67261C-4E6E-8A4B-4B45-5F7682CAB992}" dt="2019-11-12T08:58:02.817" v="25"/>
          <ac:spMkLst>
            <pc:docMk/>
            <pc:sldMk cId="2011662251" sldId="1411"/>
            <ac:spMk id="2" creationId="{77AB3BD7-7CA0-4A53-A8A6-522C56444758}"/>
          </ac:spMkLst>
        </pc:spChg>
        <pc:spChg chg="mod">
          <ac:chgData name="Hagino, Mayu [JANJP]" userId="S::mhagino3@its.jnj.com::90699482-6b3e-479f-aef9-5595debdc6d5" providerId="AD" clId="Web-{FB67261C-4E6E-8A4B-4B45-5F7682CAB992}" dt="2019-11-12T08:58:02.739" v="24"/>
          <ac:spMkLst>
            <pc:docMk/>
            <pc:sldMk cId="2011662251" sldId="1411"/>
            <ac:spMk id="4" creationId="{4DA24A89-F705-44A2-B6A3-2722A2721C58}"/>
          </ac:spMkLst>
        </pc:spChg>
        <pc:spChg chg="mod">
          <ac:chgData name="Hagino, Mayu [JANJP]" userId="S::mhagino3@its.jnj.com::90699482-6b3e-479f-aef9-5595debdc6d5" providerId="AD" clId="Web-{FB67261C-4E6E-8A4B-4B45-5F7682CAB992}" dt="2019-11-12T08:58:02.739" v="24"/>
          <ac:spMkLst>
            <pc:docMk/>
            <pc:sldMk cId="2011662251" sldId="1411"/>
            <ac:spMk id="5" creationId="{FA5A9DD9-E044-4986-B90A-43592D933EAF}"/>
          </ac:spMkLst>
        </pc:spChg>
      </pc:sldChg>
      <pc:sldMasterChg chg="modSp modSldLayout">
        <pc:chgData name="Hagino, Mayu [JANJP]" userId="S::mhagino3@its.jnj.com::90699482-6b3e-479f-aef9-5595debdc6d5" providerId="AD" clId="Web-{FB67261C-4E6E-8A4B-4B45-5F7682CAB992}" dt="2019-11-12T08:58:02.739" v="24"/>
        <pc:sldMasterMkLst>
          <pc:docMk/>
          <pc:sldMasterMk cId="2373018287" sldId="2147483761"/>
        </pc:sldMasterMkLst>
        <pc:spChg chg="mod">
          <ac:chgData name="Hagino, Mayu [JANJP]" userId="S::mhagino3@its.jnj.com::90699482-6b3e-479f-aef9-5595debdc6d5" providerId="AD" clId="Web-{FB67261C-4E6E-8A4B-4B45-5F7682CAB992}" dt="2019-11-12T08:58:02.739" v="24"/>
          <ac:spMkLst>
            <pc:docMk/>
            <pc:sldMasterMk cId="2373018287" sldId="2147483761"/>
            <ac:spMk id="5"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ac:spMk id="9" creationId="{53CFF25A-6D7D-413B-B62C-B9A2137217EE}"/>
          </ac:spMkLst>
        </pc:spChg>
        <pc:spChg chg="mod">
          <ac:chgData name="Hagino, Mayu [JANJP]" userId="S::mhagino3@its.jnj.com::90699482-6b3e-479f-aef9-5595debdc6d5" providerId="AD" clId="Web-{FB67261C-4E6E-8A4B-4B45-5F7682CAB992}" dt="2019-11-12T08:58:02.739" v="24"/>
          <ac:spMkLst>
            <pc:docMk/>
            <pc:sldMasterMk cId="2373018287" sldId="2147483761"/>
            <ac:spMk id="10" creationId="{9F3E12BE-E36B-46BD-A253-3DF8FD7BEF2C}"/>
          </ac:spMkLst>
        </pc:spChg>
        <pc:spChg chg="mod">
          <ac:chgData name="Hagino, Mayu [JANJP]" userId="S::mhagino3@its.jnj.com::90699482-6b3e-479f-aef9-5595debdc6d5" providerId="AD" clId="Web-{FB67261C-4E6E-8A4B-4B45-5F7682CAB992}" dt="2019-11-12T08:58:02.739" v="24"/>
          <ac:spMkLst>
            <pc:docMk/>
            <pc:sldMasterMk cId="2373018287" sldId="2147483761"/>
            <ac:spMk id="1030"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2373018287" sldId="2147483761"/>
            <ac:picMk id="4" creationId="{00000000-0000-0000-0000-000000000000}"/>
          </ac:picMkLst>
        </pc:picChg>
        <pc:sldLayoutChg chg="modSp">
          <pc:chgData name="Hagino, Mayu [JANJP]" userId="S::mhagino3@its.jnj.com::90699482-6b3e-479f-aef9-5595debdc6d5" providerId="AD" clId="Web-{FB67261C-4E6E-8A4B-4B45-5F7682CAB992}" dt="2019-11-12T08:58:02.739" v="24"/>
          <pc:sldLayoutMkLst>
            <pc:docMk/>
            <pc:sldMasterMk cId="2373018287" sldId="2147483761"/>
            <pc:sldLayoutMk cId="2415476639" sldId="2147483762"/>
          </pc:sldLayoutMkLst>
          <pc:picChg chg="mod">
            <ac:chgData name="Hagino, Mayu [JANJP]" userId="S::mhagino3@its.jnj.com::90699482-6b3e-479f-aef9-5595debdc6d5" providerId="AD" clId="Web-{FB67261C-4E6E-8A4B-4B45-5F7682CAB992}" dt="2019-11-12T08:58:02.739" v="24"/>
            <ac:picMkLst>
              <pc:docMk/>
              <pc:sldMasterMk cId="2373018287" sldId="2147483761"/>
              <pc:sldLayoutMk cId="2415476639" sldId="2147483762"/>
              <ac:picMk id="5"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2373018287" sldId="2147483761"/>
            <pc:sldLayoutMk cId="1683730294" sldId="2147483763"/>
          </pc:sldLayoutMkLst>
          <pc:spChg chg="mod">
            <ac:chgData name="Hagino, Mayu [JANJP]" userId="S::mhagino3@its.jnj.com::90699482-6b3e-479f-aef9-5595debdc6d5" providerId="AD" clId="Web-{FB67261C-4E6E-8A4B-4B45-5F7682CAB992}" dt="2019-11-12T08:58:02.739" v="24"/>
            <ac:spMkLst>
              <pc:docMk/>
              <pc:sldMasterMk cId="2373018287" sldId="2147483761"/>
              <pc:sldLayoutMk cId="1683730294" sldId="2147483763"/>
              <ac:spMk id="3"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1683730294" sldId="2147483763"/>
              <ac:spMk id="5"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2373018287" sldId="2147483761"/>
              <pc:sldLayoutMk cId="1683730294" sldId="2147483763"/>
              <ac:picMk id="2" creationId="{00000000-0000-0000-0000-000000000000}"/>
            </ac:picMkLst>
          </pc:picChg>
          <pc:picChg chg="mod">
            <ac:chgData name="Hagino, Mayu [JANJP]" userId="S::mhagino3@its.jnj.com::90699482-6b3e-479f-aef9-5595debdc6d5" providerId="AD" clId="Web-{FB67261C-4E6E-8A4B-4B45-5F7682CAB992}" dt="2019-11-12T08:58:02.739" v="24"/>
            <ac:picMkLst>
              <pc:docMk/>
              <pc:sldMasterMk cId="2373018287" sldId="2147483761"/>
              <pc:sldLayoutMk cId="1683730294" sldId="2147483763"/>
              <ac:picMk id="6" creationId="{00000000-0000-0000-0000-000000000000}"/>
            </ac:picMkLst>
          </pc:picChg>
          <pc:picChg chg="mod">
            <ac:chgData name="Hagino, Mayu [JANJP]" userId="S::mhagino3@its.jnj.com::90699482-6b3e-479f-aef9-5595debdc6d5" providerId="AD" clId="Web-{FB67261C-4E6E-8A4B-4B45-5F7682CAB992}" dt="2019-11-12T08:58:02.739" v="24"/>
            <ac:picMkLst>
              <pc:docMk/>
              <pc:sldMasterMk cId="2373018287" sldId="2147483761"/>
              <pc:sldLayoutMk cId="1683730294" sldId="2147483763"/>
              <ac:picMk id="7"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2373018287" sldId="2147483761"/>
            <pc:sldLayoutMk cId="2724940712" sldId="2147483764"/>
          </pc:sldLayoutMkLst>
          <pc:spChg chg="mod">
            <ac:chgData name="Hagino, Mayu [JANJP]" userId="S::mhagino3@its.jnj.com::90699482-6b3e-479f-aef9-5595debdc6d5" providerId="AD" clId="Web-{FB67261C-4E6E-8A4B-4B45-5F7682CAB992}" dt="2019-11-12T08:58:02.739" v="24"/>
            <ac:spMkLst>
              <pc:docMk/>
              <pc:sldMasterMk cId="2373018287" sldId="2147483761"/>
              <pc:sldLayoutMk cId="2724940712" sldId="2147483764"/>
              <ac:spMk id="3"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2724940712" sldId="2147483764"/>
              <ac:spMk id="8"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2724940712" sldId="2147483764"/>
              <ac:spMk id="9"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2724940712" sldId="2147483764"/>
              <ac:spMk id="12"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2724940712" sldId="2147483764"/>
              <ac:spMk id="13"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2373018287" sldId="2147483761"/>
              <pc:sldLayoutMk cId="2724940712" sldId="2147483764"/>
              <ac:picMk id="10"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2373018287" sldId="2147483761"/>
            <pc:sldLayoutMk cId="974067934" sldId="2147483766"/>
          </pc:sldLayoutMkLst>
          <pc:spChg chg="mod">
            <ac:chgData name="Hagino, Mayu [JANJP]" userId="S::mhagino3@its.jnj.com::90699482-6b3e-479f-aef9-5595debdc6d5" providerId="AD" clId="Web-{FB67261C-4E6E-8A4B-4B45-5F7682CAB992}" dt="2019-11-12T08:58:02.739" v="24"/>
            <ac:spMkLst>
              <pc:docMk/>
              <pc:sldMasterMk cId="2373018287" sldId="2147483761"/>
              <pc:sldLayoutMk cId="974067934" sldId="2147483766"/>
              <ac:spMk id="4"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974067934" sldId="2147483766"/>
              <ac:spMk id="5"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974067934" sldId="2147483766"/>
              <ac:spMk id="6"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974067934" sldId="2147483766"/>
              <ac:spMk id="7"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2373018287" sldId="2147483761"/>
              <pc:sldLayoutMk cId="974067934" sldId="2147483766"/>
              <ac:picMk id="9" creationId="{00000000-0000-0000-0000-000000000000}"/>
            </ac:picMkLst>
          </pc:picChg>
          <pc:picChg chg="mod">
            <ac:chgData name="Hagino, Mayu [JANJP]" userId="S::mhagino3@its.jnj.com::90699482-6b3e-479f-aef9-5595debdc6d5" providerId="AD" clId="Web-{FB67261C-4E6E-8A4B-4B45-5F7682CAB992}" dt="2019-11-12T08:58:02.739" v="24"/>
            <ac:picMkLst>
              <pc:docMk/>
              <pc:sldMasterMk cId="2373018287" sldId="2147483761"/>
              <pc:sldLayoutMk cId="974067934" sldId="2147483766"/>
              <ac:picMk id="13"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2373018287" sldId="2147483761"/>
            <pc:sldLayoutMk cId="153404766" sldId="2147483767"/>
          </pc:sldLayoutMkLst>
          <pc:spChg chg="mod">
            <ac:chgData name="Hagino, Mayu [JANJP]" userId="S::mhagino3@its.jnj.com::90699482-6b3e-479f-aef9-5595debdc6d5" providerId="AD" clId="Web-{FB67261C-4E6E-8A4B-4B45-5F7682CAB992}" dt="2019-11-12T08:58:02.739" v="24"/>
            <ac:spMkLst>
              <pc:docMk/>
              <pc:sldMasterMk cId="2373018287" sldId="2147483761"/>
              <pc:sldLayoutMk cId="153404766" sldId="2147483767"/>
              <ac:spMk id="2" creationId="{00000000-0000-0000-0000-000000000000}"/>
            </ac:spMkLst>
          </pc:spChg>
        </pc:sldLayoutChg>
        <pc:sldLayoutChg chg="modSp">
          <pc:chgData name="Hagino, Mayu [JANJP]" userId="S::mhagino3@its.jnj.com::90699482-6b3e-479f-aef9-5595debdc6d5" providerId="AD" clId="Web-{FB67261C-4E6E-8A4B-4B45-5F7682CAB992}" dt="2019-11-12T08:58:02.739" v="24"/>
          <pc:sldLayoutMkLst>
            <pc:docMk/>
            <pc:sldMasterMk cId="2373018287" sldId="2147483761"/>
            <pc:sldLayoutMk cId="2948990893" sldId="2147483768"/>
          </pc:sldLayoutMkLst>
          <pc:spChg chg="mod">
            <ac:chgData name="Hagino, Mayu [JANJP]" userId="S::mhagino3@its.jnj.com::90699482-6b3e-479f-aef9-5595debdc6d5" providerId="AD" clId="Web-{FB67261C-4E6E-8A4B-4B45-5F7682CAB992}" dt="2019-11-12T08:58:02.739" v="24"/>
            <ac:spMkLst>
              <pc:docMk/>
              <pc:sldMasterMk cId="2373018287" sldId="2147483761"/>
              <pc:sldLayoutMk cId="2948990893" sldId="2147483768"/>
              <ac:spMk id="2"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2948990893" sldId="2147483768"/>
              <ac:spMk id="8"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2948990893" sldId="2147483768"/>
              <ac:spMk id="10"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2948990893" sldId="2147483768"/>
              <ac:spMk id="16"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2948990893" sldId="2147483768"/>
              <ac:spMk id="17"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2373018287" sldId="2147483761"/>
              <pc:sldLayoutMk cId="2948990893" sldId="2147483768"/>
              <ac:picMk id="11" creationId="{00000000-0000-0000-0000-000000000000}"/>
            </ac:picMkLst>
          </pc:picChg>
          <pc:picChg chg="mod">
            <ac:chgData name="Hagino, Mayu [JANJP]" userId="S::mhagino3@its.jnj.com::90699482-6b3e-479f-aef9-5595debdc6d5" providerId="AD" clId="Web-{FB67261C-4E6E-8A4B-4B45-5F7682CAB992}" dt="2019-11-12T08:58:02.739" v="24"/>
            <ac:picMkLst>
              <pc:docMk/>
              <pc:sldMasterMk cId="2373018287" sldId="2147483761"/>
              <pc:sldLayoutMk cId="2948990893" sldId="2147483768"/>
              <ac:picMk id="12" creationId="{00000000-0000-0000-0000-000000000000}"/>
            </ac:picMkLst>
          </pc:picChg>
          <pc:picChg chg="mod">
            <ac:chgData name="Hagino, Mayu [JANJP]" userId="S::mhagino3@its.jnj.com::90699482-6b3e-479f-aef9-5595debdc6d5" providerId="AD" clId="Web-{FB67261C-4E6E-8A4B-4B45-5F7682CAB992}" dt="2019-11-12T08:58:02.739" v="24"/>
            <ac:picMkLst>
              <pc:docMk/>
              <pc:sldMasterMk cId="2373018287" sldId="2147483761"/>
              <pc:sldLayoutMk cId="2948990893" sldId="2147483768"/>
              <ac:picMk id="15"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2373018287" sldId="2147483761"/>
            <pc:sldLayoutMk cId="299431129" sldId="2147483769"/>
          </pc:sldLayoutMkLst>
          <pc:spChg chg="mod">
            <ac:chgData name="Hagino, Mayu [JANJP]" userId="S::mhagino3@its.jnj.com::90699482-6b3e-479f-aef9-5595debdc6d5" providerId="AD" clId="Web-{FB67261C-4E6E-8A4B-4B45-5F7682CAB992}" dt="2019-11-12T08:58:02.739" v="24"/>
            <ac:spMkLst>
              <pc:docMk/>
              <pc:sldMasterMk cId="2373018287" sldId="2147483761"/>
              <pc:sldLayoutMk cId="299431129" sldId="2147483769"/>
              <ac:spMk id="2"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299431129" sldId="2147483769"/>
              <ac:spMk id="3"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299431129" sldId="2147483769"/>
              <ac:spMk id="4" creationId="{00000000-0000-0000-0000-000000000000}"/>
            </ac:spMkLst>
          </pc:spChg>
        </pc:sldLayoutChg>
        <pc:sldLayoutChg chg="modSp">
          <pc:chgData name="Hagino, Mayu [JANJP]" userId="S::mhagino3@its.jnj.com::90699482-6b3e-479f-aef9-5595debdc6d5" providerId="AD" clId="Web-{FB67261C-4E6E-8A4B-4B45-5F7682CAB992}" dt="2019-11-12T08:58:02.739" v="24"/>
          <pc:sldLayoutMkLst>
            <pc:docMk/>
            <pc:sldMasterMk cId="2373018287" sldId="2147483761"/>
            <pc:sldLayoutMk cId="2873611949" sldId="2147483770"/>
          </pc:sldLayoutMkLst>
          <pc:spChg chg="mod">
            <ac:chgData name="Hagino, Mayu [JANJP]" userId="S::mhagino3@its.jnj.com::90699482-6b3e-479f-aef9-5595debdc6d5" providerId="AD" clId="Web-{FB67261C-4E6E-8A4B-4B45-5F7682CAB992}" dt="2019-11-12T08:58:02.739" v="24"/>
            <ac:spMkLst>
              <pc:docMk/>
              <pc:sldMasterMk cId="2373018287" sldId="2147483761"/>
              <pc:sldLayoutMk cId="2873611949" sldId="2147483770"/>
              <ac:spMk id="2"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2873611949" sldId="2147483770"/>
              <ac:spMk id="4"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2873611949" sldId="2147483770"/>
              <ac:spMk id="6"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373018287" sldId="2147483761"/>
              <pc:sldLayoutMk cId="2873611949" sldId="2147483770"/>
              <ac:spMk id="11" creationId="{00000000-0000-0000-0000-000000000000}"/>
            </ac:spMkLst>
          </pc:spChg>
        </pc:sldLayoutChg>
      </pc:sldMasterChg>
      <pc:sldMasterChg chg="modSp modSldLayout">
        <pc:chgData name="Hagino, Mayu [JANJP]" userId="S::mhagino3@its.jnj.com::90699482-6b3e-479f-aef9-5595debdc6d5" providerId="AD" clId="Web-{FB67261C-4E6E-8A4B-4B45-5F7682CAB992}" dt="2019-11-12T08:58:02.739" v="24"/>
        <pc:sldMasterMkLst>
          <pc:docMk/>
          <pc:sldMasterMk cId="927504933" sldId="2147483786"/>
        </pc:sldMasterMkLst>
        <pc:spChg chg="mod">
          <ac:chgData name="Hagino, Mayu [JANJP]" userId="S::mhagino3@its.jnj.com::90699482-6b3e-479f-aef9-5595debdc6d5" providerId="AD" clId="Web-{FB67261C-4E6E-8A4B-4B45-5F7682CAB992}" dt="2019-11-12T08:58:02.739" v="24"/>
          <ac:spMkLst>
            <pc:docMk/>
            <pc:sldMasterMk cId="927504933" sldId="2147483786"/>
            <ac:spMk id="3"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ac:spMk id="1030"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ac:spMk id="2051"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ac:spMk id="2052"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927504933" sldId="2147483786"/>
            <ac:picMk id="2" creationId="{00000000-0000-0000-0000-000000000000}"/>
          </ac:picMkLst>
        </pc:picChg>
        <pc:picChg chg="mod">
          <ac:chgData name="Hagino, Mayu [JANJP]" userId="S::mhagino3@its.jnj.com::90699482-6b3e-479f-aef9-5595debdc6d5" providerId="AD" clId="Web-{FB67261C-4E6E-8A4B-4B45-5F7682CAB992}" dt="2019-11-12T08:58:02.739" v="24"/>
          <ac:picMkLst>
            <pc:docMk/>
            <pc:sldMasterMk cId="927504933" sldId="2147483786"/>
            <ac:picMk id="4" creationId="{00000000-0000-0000-0000-000000000000}"/>
          </ac:picMkLst>
        </pc:picChg>
        <pc:sldLayoutChg chg="modSp">
          <pc:chgData name="Hagino, Mayu [JANJP]" userId="S::mhagino3@its.jnj.com::90699482-6b3e-479f-aef9-5595debdc6d5" providerId="AD" clId="Web-{FB67261C-4E6E-8A4B-4B45-5F7682CAB992}" dt="2019-11-12T08:58:02.739" v="24"/>
          <pc:sldLayoutMkLst>
            <pc:docMk/>
            <pc:sldMasterMk cId="927504933" sldId="2147483786"/>
            <pc:sldLayoutMk cId="4047721417" sldId="2147483787"/>
          </pc:sldLayoutMkLst>
          <pc:picChg chg="mod">
            <ac:chgData name="Hagino, Mayu [JANJP]" userId="S::mhagino3@its.jnj.com::90699482-6b3e-479f-aef9-5595debdc6d5" providerId="AD" clId="Web-{FB67261C-4E6E-8A4B-4B45-5F7682CAB992}" dt="2019-11-12T08:58:02.739" v="24"/>
            <ac:picMkLst>
              <pc:docMk/>
              <pc:sldMasterMk cId="927504933" sldId="2147483786"/>
              <pc:sldLayoutMk cId="4047721417" sldId="2147483787"/>
              <ac:picMk id="5"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927504933" sldId="2147483786"/>
            <pc:sldLayoutMk cId="1888961296" sldId="2147483788"/>
          </pc:sldLayoutMkLst>
          <pc:spChg chg="mod">
            <ac:chgData name="Hagino, Mayu [JANJP]" userId="S::mhagino3@its.jnj.com::90699482-6b3e-479f-aef9-5595debdc6d5" providerId="AD" clId="Web-{FB67261C-4E6E-8A4B-4B45-5F7682CAB992}" dt="2019-11-12T08:58:02.739" v="24"/>
            <ac:spMkLst>
              <pc:docMk/>
              <pc:sldMasterMk cId="927504933" sldId="2147483786"/>
              <pc:sldLayoutMk cId="1888961296" sldId="2147483788"/>
              <ac:spMk id="3"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1888961296" sldId="2147483788"/>
              <ac:spMk id="5"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927504933" sldId="2147483786"/>
              <pc:sldLayoutMk cId="1888961296" sldId="2147483788"/>
              <ac:picMk id="2" creationId="{00000000-0000-0000-0000-000000000000}"/>
            </ac:picMkLst>
          </pc:picChg>
          <pc:picChg chg="mod">
            <ac:chgData name="Hagino, Mayu [JANJP]" userId="S::mhagino3@its.jnj.com::90699482-6b3e-479f-aef9-5595debdc6d5" providerId="AD" clId="Web-{FB67261C-4E6E-8A4B-4B45-5F7682CAB992}" dt="2019-11-12T08:58:02.739" v="24"/>
            <ac:picMkLst>
              <pc:docMk/>
              <pc:sldMasterMk cId="927504933" sldId="2147483786"/>
              <pc:sldLayoutMk cId="1888961296" sldId="2147483788"/>
              <ac:picMk id="6" creationId="{00000000-0000-0000-0000-000000000000}"/>
            </ac:picMkLst>
          </pc:picChg>
          <pc:picChg chg="mod">
            <ac:chgData name="Hagino, Mayu [JANJP]" userId="S::mhagino3@its.jnj.com::90699482-6b3e-479f-aef9-5595debdc6d5" providerId="AD" clId="Web-{FB67261C-4E6E-8A4B-4B45-5F7682CAB992}" dt="2019-11-12T08:58:02.739" v="24"/>
            <ac:picMkLst>
              <pc:docMk/>
              <pc:sldMasterMk cId="927504933" sldId="2147483786"/>
              <pc:sldLayoutMk cId="1888961296" sldId="2147483788"/>
              <ac:picMk id="7"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927504933" sldId="2147483786"/>
            <pc:sldLayoutMk cId="2324671535" sldId="2147483789"/>
          </pc:sldLayoutMkLst>
          <pc:spChg chg="mod">
            <ac:chgData name="Hagino, Mayu [JANJP]" userId="S::mhagino3@its.jnj.com::90699482-6b3e-479f-aef9-5595debdc6d5" providerId="AD" clId="Web-{FB67261C-4E6E-8A4B-4B45-5F7682CAB992}" dt="2019-11-12T08:58:02.739" v="24"/>
            <ac:spMkLst>
              <pc:docMk/>
              <pc:sldMasterMk cId="927504933" sldId="2147483786"/>
              <pc:sldLayoutMk cId="2324671535" sldId="2147483789"/>
              <ac:spMk id="3"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2324671535" sldId="2147483789"/>
              <ac:spMk id="8"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2324671535" sldId="2147483789"/>
              <ac:spMk id="9"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2324671535" sldId="2147483789"/>
              <ac:spMk id="12"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2324671535" sldId="2147483789"/>
              <ac:spMk id="13"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927504933" sldId="2147483786"/>
              <pc:sldLayoutMk cId="2324671535" sldId="2147483789"/>
              <ac:picMk id="10"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927504933" sldId="2147483786"/>
            <pc:sldLayoutMk cId="3161779815" sldId="2147483790"/>
          </pc:sldLayoutMkLst>
          <pc:spChg chg="mod">
            <ac:chgData name="Hagino, Mayu [JANJP]" userId="S::mhagino3@its.jnj.com::90699482-6b3e-479f-aef9-5595debdc6d5" providerId="AD" clId="Web-{FB67261C-4E6E-8A4B-4B45-5F7682CAB992}" dt="2019-11-12T08:58:02.739" v="24"/>
            <ac:spMkLst>
              <pc:docMk/>
              <pc:sldMasterMk cId="927504933" sldId="2147483786"/>
              <pc:sldLayoutMk cId="3161779815" sldId="2147483790"/>
              <ac:spMk id="4"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3161779815" sldId="2147483790"/>
              <ac:spMk id="5" creationId="{00000000-0000-0000-0000-000000000000}"/>
            </ac:spMkLst>
          </pc:spChg>
        </pc:sldLayoutChg>
        <pc:sldLayoutChg chg="modSp">
          <pc:chgData name="Hagino, Mayu [JANJP]" userId="S::mhagino3@its.jnj.com::90699482-6b3e-479f-aef9-5595debdc6d5" providerId="AD" clId="Web-{FB67261C-4E6E-8A4B-4B45-5F7682CAB992}" dt="2019-11-12T08:58:02.739" v="24"/>
          <pc:sldLayoutMkLst>
            <pc:docMk/>
            <pc:sldMasterMk cId="927504933" sldId="2147483786"/>
            <pc:sldLayoutMk cId="961203355" sldId="2147483791"/>
          </pc:sldLayoutMkLst>
          <pc:spChg chg="mod">
            <ac:chgData name="Hagino, Mayu [JANJP]" userId="S::mhagino3@its.jnj.com::90699482-6b3e-479f-aef9-5595debdc6d5" providerId="AD" clId="Web-{FB67261C-4E6E-8A4B-4B45-5F7682CAB992}" dt="2019-11-12T08:58:02.739" v="24"/>
            <ac:spMkLst>
              <pc:docMk/>
              <pc:sldMasterMk cId="927504933" sldId="2147483786"/>
              <pc:sldLayoutMk cId="961203355" sldId="2147483791"/>
              <ac:spMk id="4"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961203355" sldId="2147483791"/>
              <ac:spMk id="5"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961203355" sldId="2147483791"/>
              <ac:spMk id="6"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961203355" sldId="2147483791"/>
              <ac:spMk id="7"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927504933" sldId="2147483786"/>
              <pc:sldLayoutMk cId="961203355" sldId="2147483791"/>
              <ac:picMk id="9" creationId="{00000000-0000-0000-0000-000000000000}"/>
            </ac:picMkLst>
          </pc:picChg>
          <pc:picChg chg="mod">
            <ac:chgData name="Hagino, Mayu [JANJP]" userId="S::mhagino3@its.jnj.com::90699482-6b3e-479f-aef9-5595debdc6d5" providerId="AD" clId="Web-{FB67261C-4E6E-8A4B-4B45-5F7682CAB992}" dt="2019-11-12T08:58:02.739" v="24"/>
            <ac:picMkLst>
              <pc:docMk/>
              <pc:sldMasterMk cId="927504933" sldId="2147483786"/>
              <pc:sldLayoutMk cId="961203355" sldId="2147483791"/>
              <ac:picMk id="13"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927504933" sldId="2147483786"/>
            <pc:sldLayoutMk cId="2997330901" sldId="2147483793"/>
          </pc:sldLayoutMkLst>
          <pc:spChg chg="mod">
            <ac:chgData name="Hagino, Mayu [JANJP]" userId="S::mhagino3@its.jnj.com::90699482-6b3e-479f-aef9-5595debdc6d5" providerId="AD" clId="Web-{FB67261C-4E6E-8A4B-4B45-5F7682CAB992}" dt="2019-11-12T08:58:02.739" v="24"/>
            <ac:spMkLst>
              <pc:docMk/>
              <pc:sldMasterMk cId="927504933" sldId="2147483786"/>
              <pc:sldLayoutMk cId="2997330901" sldId="2147483793"/>
              <ac:spMk id="2"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2997330901" sldId="2147483793"/>
              <ac:spMk id="8"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2997330901" sldId="2147483793"/>
              <ac:spMk id="10"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2997330901" sldId="2147483793"/>
              <ac:spMk id="16"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2997330901" sldId="2147483793"/>
              <ac:spMk id="17"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927504933" sldId="2147483786"/>
              <pc:sldLayoutMk cId="2997330901" sldId="2147483793"/>
              <ac:picMk id="11" creationId="{00000000-0000-0000-0000-000000000000}"/>
            </ac:picMkLst>
          </pc:picChg>
          <pc:picChg chg="mod">
            <ac:chgData name="Hagino, Mayu [JANJP]" userId="S::mhagino3@its.jnj.com::90699482-6b3e-479f-aef9-5595debdc6d5" providerId="AD" clId="Web-{FB67261C-4E6E-8A4B-4B45-5F7682CAB992}" dt="2019-11-12T08:58:02.739" v="24"/>
            <ac:picMkLst>
              <pc:docMk/>
              <pc:sldMasterMk cId="927504933" sldId="2147483786"/>
              <pc:sldLayoutMk cId="2997330901" sldId="2147483793"/>
              <ac:picMk id="12" creationId="{00000000-0000-0000-0000-000000000000}"/>
            </ac:picMkLst>
          </pc:picChg>
          <pc:picChg chg="mod">
            <ac:chgData name="Hagino, Mayu [JANJP]" userId="S::mhagino3@its.jnj.com::90699482-6b3e-479f-aef9-5595debdc6d5" providerId="AD" clId="Web-{FB67261C-4E6E-8A4B-4B45-5F7682CAB992}" dt="2019-11-12T08:58:02.739" v="24"/>
            <ac:picMkLst>
              <pc:docMk/>
              <pc:sldMasterMk cId="927504933" sldId="2147483786"/>
              <pc:sldLayoutMk cId="2997330901" sldId="2147483793"/>
              <ac:picMk id="15"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927504933" sldId="2147483786"/>
            <pc:sldLayoutMk cId="116778542" sldId="2147483794"/>
          </pc:sldLayoutMkLst>
          <pc:spChg chg="mod">
            <ac:chgData name="Hagino, Mayu [JANJP]" userId="S::mhagino3@its.jnj.com::90699482-6b3e-479f-aef9-5595debdc6d5" providerId="AD" clId="Web-{FB67261C-4E6E-8A4B-4B45-5F7682CAB992}" dt="2019-11-12T08:58:02.739" v="24"/>
            <ac:spMkLst>
              <pc:docMk/>
              <pc:sldMasterMk cId="927504933" sldId="2147483786"/>
              <pc:sldLayoutMk cId="116778542" sldId="2147483794"/>
              <ac:spMk id="3"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116778542" sldId="2147483794"/>
              <ac:spMk id="4" creationId="{00000000-0000-0000-0000-000000000000}"/>
            </ac:spMkLst>
          </pc:spChg>
        </pc:sldLayoutChg>
        <pc:sldLayoutChg chg="modSp">
          <pc:chgData name="Hagino, Mayu [JANJP]" userId="S::mhagino3@its.jnj.com::90699482-6b3e-479f-aef9-5595debdc6d5" providerId="AD" clId="Web-{FB67261C-4E6E-8A4B-4B45-5F7682CAB992}" dt="2019-11-12T08:58:02.739" v="24"/>
          <pc:sldLayoutMkLst>
            <pc:docMk/>
            <pc:sldMasterMk cId="927504933" sldId="2147483786"/>
            <pc:sldLayoutMk cId="303484157" sldId="2147483795"/>
          </pc:sldLayoutMkLst>
          <pc:spChg chg="mod">
            <ac:chgData name="Hagino, Mayu [JANJP]" userId="S::mhagino3@its.jnj.com::90699482-6b3e-479f-aef9-5595debdc6d5" providerId="AD" clId="Web-{FB67261C-4E6E-8A4B-4B45-5F7682CAB992}" dt="2019-11-12T08:58:02.739" v="24"/>
            <ac:spMkLst>
              <pc:docMk/>
              <pc:sldMasterMk cId="927504933" sldId="2147483786"/>
              <pc:sldLayoutMk cId="303484157" sldId="2147483795"/>
              <ac:spMk id="4"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303484157" sldId="2147483795"/>
              <ac:spMk id="6"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303484157" sldId="2147483795"/>
              <ac:spMk id="11" creationId="{00000000-0000-0000-0000-000000000000}"/>
            </ac:spMkLst>
          </pc:spChg>
        </pc:sldLayoutChg>
        <pc:sldLayoutChg chg="modSp">
          <pc:chgData name="Hagino, Mayu [JANJP]" userId="S::mhagino3@its.jnj.com::90699482-6b3e-479f-aef9-5595debdc6d5" providerId="AD" clId="Web-{FB67261C-4E6E-8A4B-4B45-5F7682CAB992}" dt="2019-11-12T08:58:02.739" v="24"/>
          <pc:sldLayoutMkLst>
            <pc:docMk/>
            <pc:sldMasterMk cId="927504933" sldId="2147483786"/>
            <pc:sldLayoutMk cId="3052742363" sldId="2147483797"/>
          </pc:sldLayoutMkLst>
          <pc:spChg chg="mod">
            <ac:chgData name="Hagino, Mayu [JANJP]" userId="S::mhagino3@its.jnj.com::90699482-6b3e-479f-aef9-5595debdc6d5" providerId="AD" clId="Web-{FB67261C-4E6E-8A4B-4B45-5F7682CAB992}" dt="2019-11-12T08:58:02.739" v="24"/>
            <ac:spMkLst>
              <pc:docMk/>
              <pc:sldMasterMk cId="927504933" sldId="2147483786"/>
              <pc:sldLayoutMk cId="3052742363" sldId="2147483797"/>
              <ac:spMk id="14"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3052742363" sldId="2147483797"/>
              <ac:spMk id="16"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3052742363" sldId="2147483797"/>
              <ac:spMk id="17"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3052742363" sldId="2147483797"/>
              <ac:spMk id="19"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3052742363" sldId="2147483797"/>
              <ac:spMk id="24"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3052742363" sldId="2147483797"/>
              <ac:spMk id="13314"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3052742363" sldId="2147483797"/>
              <ac:spMk id="13315" creationId="{00000000-0000-0000-0000-000000000000}"/>
            </ac:spMkLst>
          </pc:spChg>
          <pc:grpChg chg="mod">
            <ac:chgData name="Hagino, Mayu [JANJP]" userId="S::mhagino3@its.jnj.com::90699482-6b3e-479f-aef9-5595debdc6d5" providerId="AD" clId="Web-{FB67261C-4E6E-8A4B-4B45-5F7682CAB992}" dt="2019-11-12T08:58:02.739" v="24"/>
            <ac:grpSpMkLst>
              <pc:docMk/>
              <pc:sldMasterMk cId="927504933" sldId="2147483786"/>
              <pc:sldLayoutMk cId="3052742363" sldId="2147483797"/>
              <ac:grpSpMk id="2" creationId="{00000000-0000-0000-0000-000000000000}"/>
            </ac:grpSpMkLst>
          </pc:grpChg>
          <pc:grpChg chg="mod">
            <ac:chgData name="Hagino, Mayu [JANJP]" userId="S::mhagino3@its.jnj.com::90699482-6b3e-479f-aef9-5595debdc6d5" providerId="AD" clId="Web-{FB67261C-4E6E-8A4B-4B45-5F7682CAB992}" dt="2019-11-12T08:58:02.739" v="24"/>
            <ac:grpSpMkLst>
              <pc:docMk/>
              <pc:sldMasterMk cId="927504933" sldId="2147483786"/>
              <pc:sldLayoutMk cId="3052742363" sldId="2147483797"/>
              <ac:grpSpMk id="15" creationId="{00000000-0000-0000-0000-000000000000}"/>
            </ac:grpSpMkLst>
          </pc:grpChg>
          <pc:graphicFrameChg chg="mod">
            <ac:chgData name="Hagino, Mayu [JANJP]" userId="S::mhagino3@its.jnj.com::90699482-6b3e-479f-aef9-5595debdc6d5" providerId="AD" clId="Web-{FB67261C-4E6E-8A4B-4B45-5F7682CAB992}" dt="2019-11-12T08:58:02.739" v="24"/>
            <ac:graphicFrameMkLst>
              <pc:docMk/>
              <pc:sldMasterMk cId="927504933" sldId="2147483786"/>
              <pc:sldLayoutMk cId="3052742363" sldId="2147483797"/>
              <ac:graphicFrameMk id="13" creationId="{00000000-0000-0000-0000-000000000000}"/>
            </ac:graphicFrameMkLst>
          </pc:graphicFrameChg>
          <pc:picChg chg="mod">
            <ac:chgData name="Hagino, Mayu [JANJP]" userId="S::mhagino3@its.jnj.com::90699482-6b3e-479f-aef9-5595debdc6d5" providerId="AD" clId="Web-{FB67261C-4E6E-8A4B-4B45-5F7682CAB992}" dt="2019-11-12T08:58:02.739" v="24"/>
            <ac:picMkLst>
              <pc:docMk/>
              <pc:sldMasterMk cId="927504933" sldId="2147483786"/>
              <pc:sldLayoutMk cId="3052742363" sldId="2147483797"/>
              <ac:picMk id="19952"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927504933" sldId="2147483786"/>
            <pc:sldLayoutMk cId="1669717555" sldId="2147483799"/>
          </pc:sldLayoutMkLst>
          <pc:spChg chg="mod">
            <ac:chgData name="Hagino, Mayu [JANJP]" userId="S::mhagino3@its.jnj.com::90699482-6b3e-479f-aef9-5595debdc6d5" providerId="AD" clId="Web-{FB67261C-4E6E-8A4B-4B45-5F7682CAB992}" dt="2019-11-12T08:58:02.739" v="24"/>
            <ac:spMkLst>
              <pc:docMk/>
              <pc:sldMasterMk cId="927504933" sldId="2147483786"/>
              <pc:sldLayoutMk cId="1669717555" sldId="2147483799"/>
              <ac:spMk id="4"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1669717555" sldId="2147483799"/>
              <ac:spMk id="6" creationId="{00000000-0000-0000-0000-000000000000}"/>
            </ac:spMkLst>
          </pc:spChg>
          <pc:spChg chg="mod">
            <ac:chgData name="Hagino, Mayu [JANJP]" userId="S::mhagino3@its.jnj.com::90699482-6b3e-479f-aef9-5595debdc6d5" providerId="AD" clId="Web-{FB67261C-4E6E-8A4B-4B45-5F7682CAB992}" dt="2019-11-12T08:58:02.739" v="24"/>
            <ac:spMkLst>
              <pc:docMk/>
              <pc:sldMasterMk cId="927504933" sldId="2147483786"/>
              <pc:sldLayoutMk cId="1669717555" sldId="2147483799"/>
              <ac:spMk id="14"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927504933" sldId="2147483786"/>
              <pc:sldLayoutMk cId="1669717555" sldId="2147483799"/>
              <ac:picMk id="11" creationId="{00000000-0000-0000-0000-000000000000}"/>
            </ac:picMkLst>
          </pc:picChg>
        </pc:sldLayoutChg>
      </pc:sldMasterChg>
      <pc:sldMasterChg chg="modSp modSldLayout">
        <pc:chgData name="Hagino, Mayu [JANJP]" userId="S::mhagino3@its.jnj.com::90699482-6b3e-479f-aef9-5595debdc6d5" providerId="AD" clId="Web-{FB67261C-4E6E-8A4B-4B45-5F7682CAB992}" dt="2019-11-12T08:58:02.739" v="24"/>
        <pc:sldMasterMkLst>
          <pc:docMk/>
          <pc:sldMasterMk cId="4092798767" sldId="2147483800"/>
        </pc:sldMasterMkLst>
        <pc:spChg chg="mod">
          <ac:chgData name="Hagino, Mayu [JANJP]" userId="S::mhagino3@its.jnj.com::90699482-6b3e-479f-aef9-5595debdc6d5" providerId="AD" clId="Web-{FB67261C-4E6E-8A4B-4B45-5F7682CAB992}" dt="2019-11-12T08:58:02.739" v="24"/>
          <ac:spMkLst>
            <pc:docMk/>
            <pc:sldMasterMk cId="4092798767" sldId="2147483800"/>
            <ac:spMk id="9"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ac:spMk id="1030"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ac:spMk id="2051"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ac:spMk id="2052" creationId="{00000000-0000-0000-0000-000000000000}"/>
          </ac:spMkLst>
        </pc:spChg>
        <pc:graphicFrameChg chg="mod">
          <ac:chgData name="Hagino, Mayu [JANJP]" userId="S::mhagino3@its.jnj.com::90699482-6b3e-479f-aef9-5595debdc6d5" providerId="AD" clId="Web-{FB67261C-4E6E-8A4B-4B45-5F7682CAB992}" dt="2019-11-12T08:58:02.739" v="24"/>
          <ac:graphicFrameMkLst>
            <pc:docMk/>
            <pc:sldMasterMk cId="4092798767" sldId="2147483800"/>
            <ac:graphicFrameMk id="3" creationId="{00000000-0000-0000-0000-000000000000}"/>
          </ac:graphicFrameMkLst>
        </pc:graphicFrameChg>
        <pc:picChg chg="mod">
          <ac:chgData name="Hagino, Mayu [JANJP]" userId="S::mhagino3@its.jnj.com::90699482-6b3e-479f-aef9-5595debdc6d5" providerId="AD" clId="Web-{FB67261C-4E6E-8A4B-4B45-5F7682CAB992}" dt="2019-11-12T08:58:02.739" v="24"/>
          <ac:picMkLst>
            <pc:docMk/>
            <pc:sldMasterMk cId="4092798767" sldId="2147483800"/>
            <ac:picMk id="2" creationId="{00000000-0000-0000-0000-000000000000}"/>
          </ac:picMkLst>
        </pc:picChg>
        <pc:picChg chg="mod">
          <ac:chgData name="Hagino, Mayu [JANJP]" userId="S::mhagino3@its.jnj.com::90699482-6b3e-479f-aef9-5595debdc6d5" providerId="AD" clId="Web-{FB67261C-4E6E-8A4B-4B45-5F7682CAB992}" dt="2019-11-12T08:58:02.739" v="24"/>
          <ac:picMkLst>
            <pc:docMk/>
            <pc:sldMasterMk cId="4092798767" sldId="2147483800"/>
            <ac:picMk id="12" creationId="{00000000-0000-0000-0000-000000000000}"/>
          </ac:picMkLst>
        </pc:picChg>
        <pc:sldLayoutChg chg="modSp">
          <pc:chgData name="Hagino, Mayu [JANJP]" userId="S::mhagino3@its.jnj.com::90699482-6b3e-479f-aef9-5595debdc6d5" providerId="AD" clId="Web-{FB67261C-4E6E-8A4B-4B45-5F7682CAB992}" dt="2019-11-12T08:58:02.739" v="24"/>
          <pc:sldLayoutMkLst>
            <pc:docMk/>
            <pc:sldMasterMk cId="4092798767" sldId="2147483800"/>
            <pc:sldLayoutMk cId="544238768" sldId="2147483801"/>
          </pc:sldLayoutMkLst>
          <pc:picChg chg="mod">
            <ac:chgData name="Hagino, Mayu [JANJP]" userId="S::mhagino3@its.jnj.com::90699482-6b3e-479f-aef9-5595debdc6d5" providerId="AD" clId="Web-{FB67261C-4E6E-8A4B-4B45-5F7682CAB992}" dt="2019-11-12T08:58:02.739" v="24"/>
            <ac:picMkLst>
              <pc:docMk/>
              <pc:sldMasterMk cId="4092798767" sldId="2147483800"/>
              <pc:sldLayoutMk cId="544238768" sldId="2147483801"/>
              <ac:picMk id="5"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4092798767" sldId="2147483800"/>
            <pc:sldLayoutMk cId="3024798928" sldId="2147483802"/>
          </pc:sldLayoutMkLst>
          <pc:spChg chg="mod">
            <ac:chgData name="Hagino, Mayu [JANJP]" userId="S::mhagino3@its.jnj.com::90699482-6b3e-479f-aef9-5595debdc6d5" providerId="AD" clId="Web-{FB67261C-4E6E-8A4B-4B45-5F7682CAB992}" dt="2019-11-12T08:58:02.739" v="24"/>
            <ac:spMkLst>
              <pc:docMk/>
              <pc:sldMasterMk cId="4092798767" sldId="2147483800"/>
              <pc:sldLayoutMk cId="3024798928" sldId="2147483802"/>
              <ac:spMk id="5"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4092798767" sldId="2147483800"/>
              <pc:sldLayoutMk cId="3024798928" sldId="2147483802"/>
              <ac:picMk id="6" creationId="{00000000-0000-0000-0000-000000000000}"/>
            </ac:picMkLst>
          </pc:picChg>
          <pc:picChg chg="mod">
            <ac:chgData name="Hagino, Mayu [JANJP]" userId="S::mhagino3@its.jnj.com::90699482-6b3e-479f-aef9-5595debdc6d5" providerId="AD" clId="Web-{FB67261C-4E6E-8A4B-4B45-5F7682CAB992}" dt="2019-11-12T08:58:02.739" v="24"/>
            <ac:picMkLst>
              <pc:docMk/>
              <pc:sldMasterMk cId="4092798767" sldId="2147483800"/>
              <pc:sldLayoutMk cId="3024798928" sldId="2147483802"/>
              <ac:picMk id="7"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4092798767" sldId="2147483800"/>
            <pc:sldLayoutMk cId="2922402543" sldId="2147483803"/>
          </pc:sldLayoutMkLst>
          <pc:spChg chg="mod">
            <ac:chgData name="Hagino, Mayu [JANJP]" userId="S::mhagino3@its.jnj.com::90699482-6b3e-479f-aef9-5595debdc6d5" providerId="AD" clId="Web-{FB67261C-4E6E-8A4B-4B45-5F7682CAB992}" dt="2019-11-12T08:58:02.739" v="24"/>
            <ac:spMkLst>
              <pc:docMk/>
              <pc:sldMasterMk cId="4092798767" sldId="2147483800"/>
              <pc:sldLayoutMk cId="2922402543" sldId="2147483803"/>
              <ac:spMk id="3"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2922402543" sldId="2147483803"/>
              <ac:spMk id="8"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2922402543" sldId="2147483803"/>
              <ac:spMk id="9"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2922402543" sldId="2147483803"/>
              <ac:spMk id="10"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2922402543" sldId="2147483803"/>
              <ac:spMk id="11"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4092798767" sldId="2147483800"/>
              <pc:sldLayoutMk cId="2922402543" sldId="2147483803"/>
              <ac:picMk id="13"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4092798767" sldId="2147483800"/>
            <pc:sldLayoutMk cId="4076942160" sldId="2147483804"/>
          </pc:sldLayoutMkLst>
          <pc:spChg chg="mod">
            <ac:chgData name="Hagino, Mayu [JANJP]" userId="S::mhagino3@its.jnj.com::90699482-6b3e-479f-aef9-5595debdc6d5" providerId="AD" clId="Web-{FB67261C-4E6E-8A4B-4B45-5F7682CAB992}" dt="2019-11-12T08:58:02.739" v="24"/>
            <ac:spMkLst>
              <pc:docMk/>
              <pc:sldMasterMk cId="4092798767" sldId="2147483800"/>
              <pc:sldLayoutMk cId="4076942160" sldId="2147483804"/>
              <ac:spMk id="4"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4076942160" sldId="2147483804"/>
              <ac:spMk id="5" creationId="{00000000-0000-0000-0000-000000000000}"/>
            </ac:spMkLst>
          </pc:spChg>
        </pc:sldLayoutChg>
        <pc:sldLayoutChg chg="modSp">
          <pc:chgData name="Hagino, Mayu [JANJP]" userId="S::mhagino3@its.jnj.com::90699482-6b3e-479f-aef9-5595debdc6d5" providerId="AD" clId="Web-{FB67261C-4E6E-8A4B-4B45-5F7682CAB992}" dt="2019-11-12T08:58:02.739" v="24"/>
          <pc:sldLayoutMkLst>
            <pc:docMk/>
            <pc:sldMasterMk cId="4092798767" sldId="2147483800"/>
            <pc:sldLayoutMk cId="2410051370" sldId="2147483805"/>
          </pc:sldLayoutMkLst>
          <pc:spChg chg="mod">
            <ac:chgData name="Hagino, Mayu [JANJP]" userId="S::mhagino3@its.jnj.com::90699482-6b3e-479f-aef9-5595debdc6d5" providerId="AD" clId="Web-{FB67261C-4E6E-8A4B-4B45-5F7682CAB992}" dt="2019-11-12T08:58:02.739" v="24"/>
            <ac:spMkLst>
              <pc:docMk/>
              <pc:sldMasterMk cId="4092798767" sldId="2147483800"/>
              <pc:sldLayoutMk cId="2410051370" sldId="2147483805"/>
              <ac:spMk id="4"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2410051370" sldId="2147483805"/>
              <ac:spMk id="5"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2410051370" sldId="2147483805"/>
              <ac:spMk id="6"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2410051370" sldId="2147483805"/>
              <ac:spMk id="7"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4092798767" sldId="2147483800"/>
              <pc:sldLayoutMk cId="2410051370" sldId="2147483805"/>
              <ac:picMk id="8"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4092798767" sldId="2147483800"/>
            <pc:sldLayoutMk cId="3940932749" sldId="2147483806"/>
          </pc:sldLayoutMkLst>
          <pc:spChg chg="mod">
            <ac:chgData name="Hagino, Mayu [JANJP]" userId="S::mhagino3@its.jnj.com::90699482-6b3e-479f-aef9-5595debdc6d5" providerId="AD" clId="Web-{FB67261C-4E6E-8A4B-4B45-5F7682CAB992}" dt="2019-11-12T08:58:02.739" v="24"/>
            <ac:spMkLst>
              <pc:docMk/>
              <pc:sldMasterMk cId="4092798767" sldId="2147483800"/>
              <pc:sldLayoutMk cId="3940932749" sldId="2147483806"/>
              <ac:spMk id="4"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3940932749" sldId="2147483806"/>
              <ac:spMk id="5"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3940932749" sldId="2147483806"/>
              <ac:spMk id="9"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3940932749" sldId="2147483806"/>
              <ac:spMk id="11"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4092798767" sldId="2147483800"/>
              <pc:sldLayoutMk cId="3940932749" sldId="2147483806"/>
              <ac:picMk id="7"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4092798767" sldId="2147483800"/>
            <pc:sldLayoutMk cId="3155271334" sldId="2147483808"/>
          </pc:sldLayoutMkLst>
          <pc:spChg chg="mod">
            <ac:chgData name="Hagino, Mayu [JANJP]" userId="S::mhagino3@its.jnj.com::90699482-6b3e-479f-aef9-5595debdc6d5" providerId="AD" clId="Web-{FB67261C-4E6E-8A4B-4B45-5F7682CAB992}" dt="2019-11-12T08:58:02.739" v="24"/>
            <ac:spMkLst>
              <pc:docMk/>
              <pc:sldMasterMk cId="4092798767" sldId="2147483800"/>
              <pc:sldLayoutMk cId="3155271334" sldId="2147483808"/>
              <ac:spMk id="2"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3155271334" sldId="2147483808"/>
              <ac:spMk id="9"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3155271334" sldId="2147483808"/>
              <ac:spMk id="10"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3155271334" sldId="2147483808"/>
              <ac:spMk id="14"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3155271334" sldId="2147483808"/>
              <ac:spMk id="16"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4092798767" sldId="2147483800"/>
              <pc:sldLayoutMk cId="3155271334" sldId="2147483808"/>
              <ac:picMk id="7" creationId="{00000000-0000-0000-0000-000000000000}"/>
            </ac:picMkLst>
          </pc:picChg>
        </pc:sldLayoutChg>
        <pc:sldLayoutChg chg="modSp">
          <pc:chgData name="Hagino, Mayu [JANJP]" userId="S::mhagino3@its.jnj.com::90699482-6b3e-479f-aef9-5595debdc6d5" providerId="AD" clId="Web-{FB67261C-4E6E-8A4B-4B45-5F7682CAB992}" dt="2019-11-12T08:58:02.739" v="24"/>
          <pc:sldLayoutMkLst>
            <pc:docMk/>
            <pc:sldMasterMk cId="4092798767" sldId="2147483800"/>
            <pc:sldLayoutMk cId="794173021" sldId="2147483809"/>
          </pc:sldLayoutMkLst>
          <pc:spChg chg="mod">
            <ac:chgData name="Hagino, Mayu [JANJP]" userId="S::mhagino3@its.jnj.com::90699482-6b3e-479f-aef9-5595debdc6d5" providerId="AD" clId="Web-{FB67261C-4E6E-8A4B-4B45-5F7682CAB992}" dt="2019-11-12T08:58:02.739" v="24"/>
            <ac:spMkLst>
              <pc:docMk/>
              <pc:sldMasterMk cId="4092798767" sldId="2147483800"/>
              <pc:sldLayoutMk cId="794173021" sldId="2147483809"/>
              <ac:spMk id="3"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794173021" sldId="2147483809"/>
              <ac:spMk id="4" creationId="{00000000-0000-0000-0000-000000000000}"/>
            </ac:spMkLst>
          </pc:spChg>
        </pc:sldLayoutChg>
        <pc:sldLayoutChg chg="modSp">
          <pc:chgData name="Hagino, Mayu [JANJP]" userId="S::mhagino3@its.jnj.com::90699482-6b3e-479f-aef9-5595debdc6d5" providerId="AD" clId="Web-{FB67261C-4E6E-8A4B-4B45-5F7682CAB992}" dt="2019-11-12T08:58:02.739" v="24"/>
          <pc:sldLayoutMkLst>
            <pc:docMk/>
            <pc:sldMasterMk cId="4092798767" sldId="2147483800"/>
            <pc:sldLayoutMk cId="406616654" sldId="2147483810"/>
          </pc:sldLayoutMkLst>
          <pc:spChg chg="mod">
            <ac:chgData name="Hagino, Mayu [JANJP]" userId="S::mhagino3@its.jnj.com::90699482-6b3e-479f-aef9-5595debdc6d5" providerId="AD" clId="Web-{FB67261C-4E6E-8A4B-4B45-5F7682CAB992}" dt="2019-11-12T08:58:02.739" v="24"/>
            <ac:spMkLst>
              <pc:docMk/>
              <pc:sldMasterMk cId="4092798767" sldId="2147483800"/>
              <pc:sldLayoutMk cId="406616654" sldId="2147483810"/>
              <ac:spMk id="4"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406616654" sldId="2147483810"/>
              <ac:spMk id="6" creationId="{00000000-0000-0000-0000-000000000000}"/>
            </ac:spMkLst>
          </pc:spChg>
          <pc:spChg chg="mod">
            <ac:chgData name="Hagino, Mayu [JANJP]" userId="S::mhagino3@its.jnj.com::90699482-6b3e-479f-aef9-5595debdc6d5" providerId="AD" clId="Web-{FB67261C-4E6E-8A4B-4B45-5F7682CAB992}" dt="2019-11-12T08:58:02.739" v="24"/>
            <ac:spMkLst>
              <pc:docMk/>
              <pc:sldMasterMk cId="4092798767" sldId="2147483800"/>
              <pc:sldLayoutMk cId="406616654" sldId="2147483810"/>
              <ac:spMk id="11" creationId="{00000000-0000-0000-0000-000000000000}"/>
            </ac:spMkLst>
          </pc:spChg>
        </pc:sldLayoutChg>
      </pc:sldMasterChg>
      <pc:sldMasterChg chg="modSp add del addSldLayout delSldLayout modSldLayout">
        <pc:chgData name="Hagino, Mayu [JANJP]" userId="S::mhagino3@its.jnj.com::90699482-6b3e-479f-aef9-5595debdc6d5" providerId="AD" clId="Web-{FB67261C-4E6E-8A4B-4B45-5F7682CAB992}" dt="2019-11-12T08:58:02.817" v="25"/>
        <pc:sldMasterMkLst>
          <pc:docMk/>
          <pc:sldMasterMk cId="2272551599" sldId="2147483827"/>
        </pc:sldMasterMkLst>
        <pc:spChg chg="mod">
          <ac:chgData name="Hagino, Mayu [JANJP]" userId="S::mhagino3@its.jnj.com::90699482-6b3e-479f-aef9-5595debdc6d5" providerId="AD" clId="Web-{FB67261C-4E6E-8A4B-4B45-5F7682CAB992}" dt="2019-11-12T08:58:02.739" v="24"/>
          <ac:spMkLst>
            <pc:docMk/>
            <pc:sldMasterMk cId="2272551599" sldId="2147483827"/>
            <ac:spMk id="2"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ac:spMk id="3"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ac:spMk id="4"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ac:spMk id="5"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ac:spMk id="6" creationId="{00000000-0000-0000-0000-000000000000}"/>
          </ac:spMkLst>
        </pc:spChg>
        <pc:sldLayoutChg chg="modSp add del">
          <pc:chgData name="Hagino, Mayu [JANJP]" userId="S::mhagino3@its.jnj.com::90699482-6b3e-479f-aef9-5595debdc6d5" providerId="AD" clId="Web-{FB67261C-4E6E-8A4B-4B45-5F7682CAB992}" dt="2019-11-12T08:58:02.817" v="25"/>
          <pc:sldLayoutMkLst>
            <pc:docMk/>
            <pc:sldMasterMk cId="2272551599" sldId="2147483827"/>
            <pc:sldLayoutMk cId="3723070519" sldId="2147483828"/>
          </pc:sldLayoutMkLst>
          <pc:spChg chg="mod">
            <ac:chgData name="Hagino, Mayu [JANJP]" userId="S::mhagino3@its.jnj.com::90699482-6b3e-479f-aef9-5595debdc6d5" providerId="AD" clId="Web-{FB67261C-4E6E-8A4B-4B45-5F7682CAB992}" dt="2019-11-12T08:58:02.739" v="24"/>
            <ac:spMkLst>
              <pc:docMk/>
              <pc:sldMasterMk cId="2272551599" sldId="2147483827"/>
              <pc:sldLayoutMk cId="3723070519" sldId="2147483828"/>
              <ac:spMk id="2"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pc:sldLayoutMk cId="3723070519" sldId="2147483828"/>
              <ac:spMk id="3" creationId="{00000000-0000-0000-0000-000000000000}"/>
            </ac:spMkLst>
          </pc:spChg>
        </pc:sldLayoutChg>
        <pc:sldLayoutChg chg="add del">
          <pc:chgData name="Hagino, Mayu [JANJP]" userId="S::mhagino3@its.jnj.com::90699482-6b3e-479f-aef9-5595debdc6d5" providerId="AD" clId="Web-{FB67261C-4E6E-8A4B-4B45-5F7682CAB992}" dt="2019-11-12T08:58:02.817" v="25"/>
          <pc:sldLayoutMkLst>
            <pc:docMk/>
            <pc:sldMasterMk cId="2272551599" sldId="2147483827"/>
            <pc:sldLayoutMk cId="2055316857" sldId="2147483829"/>
          </pc:sldLayoutMkLst>
        </pc:sldLayoutChg>
        <pc:sldLayoutChg chg="modSp add del">
          <pc:chgData name="Hagino, Mayu [JANJP]" userId="S::mhagino3@its.jnj.com::90699482-6b3e-479f-aef9-5595debdc6d5" providerId="AD" clId="Web-{FB67261C-4E6E-8A4B-4B45-5F7682CAB992}" dt="2019-11-12T08:58:02.817" v="25"/>
          <pc:sldLayoutMkLst>
            <pc:docMk/>
            <pc:sldMasterMk cId="2272551599" sldId="2147483827"/>
            <pc:sldLayoutMk cId="1358964708" sldId="2147483830"/>
          </pc:sldLayoutMkLst>
          <pc:spChg chg="mod">
            <ac:chgData name="Hagino, Mayu [JANJP]" userId="S::mhagino3@its.jnj.com::90699482-6b3e-479f-aef9-5595debdc6d5" providerId="AD" clId="Web-{FB67261C-4E6E-8A4B-4B45-5F7682CAB992}" dt="2019-11-12T08:58:02.739" v="24"/>
            <ac:spMkLst>
              <pc:docMk/>
              <pc:sldMasterMk cId="2272551599" sldId="2147483827"/>
              <pc:sldLayoutMk cId="1358964708" sldId="2147483830"/>
              <ac:spMk id="2"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pc:sldLayoutMk cId="1358964708" sldId="2147483830"/>
              <ac:spMk id="3" creationId="{00000000-0000-0000-0000-000000000000}"/>
            </ac:spMkLst>
          </pc:spChg>
        </pc:sldLayoutChg>
        <pc:sldLayoutChg chg="modSp add del">
          <pc:chgData name="Hagino, Mayu [JANJP]" userId="S::mhagino3@its.jnj.com::90699482-6b3e-479f-aef9-5595debdc6d5" providerId="AD" clId="Web-{FB67261C-4E6E-8A4B-4B45-5F7682CAB992}" dt="2019-11-12T08:58:02.817" v="25"/>
          <pc:sldLayoutMkLst>
            <pc:docMk/>
            <pc:sldMasterMk cId="2272551599" sldId="2147483827"/>
            <pc:sldLayoutMk cId="4099329358" sldId="2147483831"/>
          </pc:sldLayoutMkLst>
          <pc:spChg chg="mod">
            <ac:chgData name="Hagino, Mayu [JANJP]" userId="S::mhagino3@its.jnj.com::90699482-6b3e-479f-aef9-5595debdc6d5" providerId="AD" clId="Web-{FB67261C-4E6E-8A4B-4B45-5F7682CAB992}" dt="2019-11-12T08:58:02.739" v="24"/>
            <ac:spMkLst>
              <pc:docMk/>
              <pc:sldMasterMk cId="2272551599" sldId="2147483827"/>
              <pc:sldLayoutMk cId="4099329358" sldId="2147483831"/>
              <ac:spMk id="3"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pc:sldLayoutMk cId="4099329358" sldId="2147483831"/>
              <ac:spMk id="4" creationId="{00000000-0000-0000-0000-000000000000}"/>
            </ac:spMkLst>
          </pc:spChg>
        </pc:sldLayoutChg>
        <pc:sldLayoutChg chg="modSp add del">
          <pc:chgData name="Hagino, Mayu [JANJP]" userId="S::mhagino3@its.jnj.com::90699482-6b3e-479f-aef9-5595debdc6d5" providerId="AD" clId="Web-{FB67261C-4E6E-8A4B-4B45-5F7682CAB992}" dt="2019-11-12T08:58:02.817" v="25"/>
          <pc:sldLayoutMkLst>
            <pc:docMk/>
            <pc:sldMasterMk cId="2272551599" sldId="2147483827"/>
            <pc:sldLayoutMk cId="3749595024" sldId="2147483832"/>
          </pc:sldLayoutMkLst>
          <pc:spChg chg="mod">
            <ac:chgData name="Hagino, Mayu [JANJP]" userId="S::mhagino3@its.jnj.com::90699482-6b3e-479f-aef9-5595debdc6d5" providerId="AD" clId="Web-{FB67261C-4E6E-8A4B-4B45-5F7682CAB992}" dt="2019-11-12T08:58:02.739" v="24"/>
            <ac:spMkLst>
              <pc:docMk/>
              <pc:sldMasterMk cId="2272551599" sldId="2147483827"/>
              <pc:sldLayoutMk cId="3749595024" sldId="2147483832"/>
              <ac:spMk id="2"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pc:sldLayoutMk cId="3749595024" sldId="2147483832"/>
              <ac:spMk id="3"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pc:sldLayoutMk cId="3749595024" sldId="2147483832"/>
              <ac:spMk id="4"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pc:sldLayoutMk cId="3749595024" sldId="2147483832"/>
              <ac:spMk id="5"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pc:sldLayoutMk cId="3749595024" sldId="2147483832"/>
              <ac:spMk id="6" creationId="{00000000-0000-0000-0000-000000000000}"/>
            </ac:spMkLst>
          </pc:spChg>
        </pc:sldLayoutChg>
        <pc:sldLayoutChg chg="add del">
          <pc:chgData name="Hagino, Mayu [JANJP]" userId="S::mhagino3@its.jnj.com::90699482-6b3e-479f-aef9-5595debdc6d5" providerId="AD" clId="Web-{FB67261C-4E6E-8A4B-4B45-5F7682CAB992}" dt="2019-11-12T08:58:02.817" v="25"/>
          <pc:sldLayoutMkLst>
            <pc:docMk/>
            <pc:sldMasterMk cId="2272551599" sldId="2147483827"/>
            <pc:sldLayoutMk cId="1980126123" sldId="2147483833"/>
          </pc:sldLayoutMkLst>
        </pc:sldLayoutChg>
        <pc:sldLayoutChg chg="add del">
          <pc:chgData name="Hagino, Mayu [JANJP]" userId="S::mhagino3@its.jnj.com::90699482-6b3e-479f-aef9-5595debdc6d5" providerId="AD" clId="Web-{FB67261C-4E6E-8A4B-4B45-5F7682CAB992}" dt="2019-11-12T08:58:02.817" v="25"/>
          <pc:sldLayoutMkLst>
            <pc:docMk/>
            <pc:sldMasterMk cId="2272551599" sldId="2147483827"/>
            <pc:sldLayoutMk cId="2085920052" sldId="2147483834"/>
          </pc:sldLayoutMkLst>
        </pc:sldLayoutChg>
        <pc:sldLayoutChg chg="modSp add del">
          <pc:chgData name="Hagino, Mayu [JANJP]" userId="S::mhagino3@its.jnj.com::90699482-6b3e-479f-aef9-5595debdc6d5" providerId="AD" clId="Web-{FB67261C-4E6E-8A4B-4B45-5F7682CAB992}" dt="2019-11-12T08:58:02.817" v="25"/>
          <pc:sldLayoutMkLst>
            <pc:docMk/>
            <pc:sldMasterMk cId="2272551599" sldId="2147483827"/>
            <pc:sldLayoutMk cId="1818621225" sldId="2147483835"/>
          </pc:sldLayoutMkLst>
          <pc:spChg chg="mod">
            <ac:chgData name="Hagino, Mayu [JANJP]" userId="S::mhagino3@its.jnj.com::90699482-6b3e-479f-aef9-5595debdc6d5" providerId="AD" clId="Web-{FB67261C-4E6E-8A4B-4B45-5F7682CAB992}" dt="2019-11-12T08:58:02.739" v="24"/>
            <ac:spMkLst>
              <pc:docMk/>
              <pc:sldMasterMk cId="2272551599" sldId="2147483827"/>
              <pc:sldLayoutMk cId="1818621225" sldId="2147483835"/>
              <ac:spMk id="2"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pc:sldLayoutMk cId="1818621225" sldId="2147483835"/>
              <ac:spMk id="3"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pc:sldLayoutMk cId="1818621225" sldId="2147483835"/>
              <ac:spMk id="4" creationId="{00000000-0000-0000-0000-000000000000}"/>
            </ac:spMkLst>
          </pc:spChg>
        </pc:sldLayoutChg>
        <pc:sldLayoutChg chg="modSp add del">
          <pc:chgData name="Hagino, Mayu [JANJP]" userId="S::mhagino3@its.jnj.com::90699482-6b3e-479f-aef9-5595debdc6d5" providerId="AD" clId="Web-{FB67261C-4E6E-8A4B-4B45-5F7682CAB992}" dt="2019-11-12T08:58:02.817" v="25"/>
          <pc:sldLayoutMkLst>
            <pc:docMk/>
            <pc:sldMasterMk cId="2272551599" sldId="2147483827"/>
            <pc:sldLayoutMk cId="459786065" sldId="2147483836"/>
          </pc:sldLayoutMkLst>
          <pc:spChg chg="mod">
            <ac:chgData name="Hagino, Mayu [JANJP]" userId="S::mhagino3@its.jnj.com::90699482-6b3e-479f-aef9-5595debdc6d5" providerId="AD" clId="Web-{FB67261C-4E6E-8A4B-4B45-5F7682CAB992}" dt="2019-11-12T08:58:02.739" v="24"/>
            <ac:spMkLst>
              <pc:docMk/>
              <pc:sldMasterMk cId="2272551599" sldId="2147483827"/>
              <pc:sldLayoutMk cId="459786065" sldId="2147483836"/>
              <ac:spMk id="2"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pc:sldLayoutMk cId="459786065" sldId="2147483836"/>
              <ac:spMk id="3"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pc:sldLayoutMk cId="459786065" sldId="2147483836"/>
              <ac:spMk id="4" creationId="{00000000-0000-0000-0000-000000000000}"/>
            </ac:spMkLst>
          </pc:spChg>
        </pc:sldLayoutChg>
        <pc:sldLayoutChg chg="add del">
          <pc:chgData name="Hagino, Mayu [JANJP]" userId="S::mhagino3@its.jnj.com::90699482-6b3e-479f-aef9-5595debdc6d5" providerId="AD" clId="Web-{FB67261C-4E6E-8A4B-4B45-5F7682CAB992}" dt="2019-11-12T08:58:02.817" v="25"/>
          <pc:sldLayoutMkLst>
            <pc:docMk/>
            <pc:sldMasterMk cId="2272551599" sldId="2147483827"/>
            <pc:sldLayoutMk cId="4139014335" sldId="2147483837"/>
          </pc:sldLayoutMkLst>
        </pc:sldLayoutChg>
        <pc:sldLayoutChg chg="modSp add del">
          <pc:chgData name="Hagino, Mayu [JANJP]" userId="S::mhagino3@its.jnj.com::90699482-6b3e-479f-aef9-5595debdc6d5" providerId="AD" clId="Web-{FB67261C-4E6E-8A4B-4B45-5F7682CAB992}" dt="2019-11-12T08:58:02.817" v="25"/>
          <pc:sldLayoutMkLst>
            <pc:docMk/>
            <pc:sldMasterMk cId="2272551599" sldId="2147483827"/>
            <pc:sldLayoutMk cId="4088412619" sldId="2147483838"/>
          </pc:sldLayoutMkLst>
          <pc:spChg chg="mod">
            <ac:chgData name="Hagino, Mayu [JANJP]" userId="S::mhagino3@its.jnj.com::90699482-6b3e-479f-aef9-5595debdc6d5" providerId="AD" clId="Web-{FB67261C-4E6E-8A4B-4B45-5F7682CAB992}" dt="2019-11-12T08:58:02.739" v="24"/>
            <ac:spMkLst>
              <pc:docMk/>
              <pc:sldMasterMk cId="2272551599" sldId="2147483827"/>
              <pc:sldLayoutMk cId="4088412619" sldId="2147483838"/>
              <ac:spMk id="2"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pc:sldLayoutMk cId="4088412619" sldId="2147483838"/>
              <ac:spMk id="3" creationId="{00000000-0000-0000-0000-000000000000}"/>
            </ac:spMkLst>
          </pc:spChg>
        </pc:sldLayoutChg>
        <pc:sldLayoutChg chg="modSp add del">
          <pc:chgData name="Hagino, Mayu [JANJP]" userId="S::mhagino3@its.jnj.com::90699482-6b3e-479f-aef9-5595debdc6d5" providerId="AD" clId="Web-{FB67261C-4E6E-8A4B-4B45-5F7682CAB992}" dt="2019-11-12T08:58:02.817" v="25"/>
          <pc:sldLayoutMkLst>
            <pc:docMk/>
            <pc:sldMasterMk cId="2272551599" sldId="2147483827"/>
            <pc:sldLayoutMk cId="1564545699" sldId="2147483839"/>
          </pc:sldLayoutMkLst>
          <pc:spChg chg="mod">
            <ac:chgData name="Hagino, Mayu [JANJP]" userId="S::mhagino3@its.jnj.com::90699482-6b3e-479f-aef9-5595debdc6d5" providerId="AD" clId="Web-{FB67261C-4E6E-8A4B-4B45-5F7682CAB992}" dt="2019-11-12T08:58:02.739" v="24"/>
            <ac:spMkLst>
              <pc:docMk/>
              <pc:sldMasterMk cId="2272551599" sldId="2147483827"/>
              <pc:sldLayoutMk cId="1564545699" sldId="2147483839"/>
              <ac:spMk id="11"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pc:sldLayoutMk cId="1564545699" sldId="2147483839"/>
              <ac:spMk id="12" creationId="{00000000-0000-0000-0000-000000000000}"/>
            </ac:spMkLst>
          </pc:spChg>
          <pc:spChg chg="mod">
            <ac:chgData name="Hagino, Mayu [JANJP]" userId="S::mhagino3@its.jnj.com::90699482-6b3e-479f-aef9-5595debdc6d5" providerId="AD" clId="Web-{FB67261C-4E6E-8A4B-4B45-5F7682CAB992}" dt="2019-11-12T08:58:02.739" v="24"/>
            <ac:spMkLst>
              <pc:docMk/>
              <pc:sldMasterMk cId="2272551599" sldId="2147483827"/>
              <pc:sldLayoutMk cId="1564545699" sldId="2147483839"/>
              <ac:spMk id="13" creationId="{00000000-0000-0000-0000-000000000000}"/>
            </ac:spMkLst>
          </pc:spChg>
          <pc:picChg chg="mod">
            <ac:chgData name="Hagino, Mayu [JANJP]" userId="S::mhagino3@its.jnj.com::90699482-6b3e-479f-aef9-5595debdc6d5" providerId="AD" clId="Web-{FB67261C-4E6E-8A4B-4B45-5F7682CAB992}" dt="2019-11-12T08:58:02.739" v="24"/>
            <ac:picMkLst>
              <pc:docMk/>
              <pc:sldMasterMk cId="2272551599" sldId="2147483827"/>
              <pc:sldLayoutMk cId="1564545699" sldId="2147483839"/>
              <ac:picMk id="9" creationId="{00000000-0000-0000-0000-000000000000}"/>
            </ac:picMkLst>
          </pc:picChg>
          <pc:picChg chg="mod">
            <ac:chgData name="Hagino, Mayu [JANJP]" userId="S::mhagino3@its.jnj.com::90699482-6b3e-479f-aef9-5595debdc6d5" providerId="AD" clId="Web-{FB67261C-4E6E-8A4B-4B45-5F7682CAB992}" dt="2019-11-12T08:58:02.739" v="24"/>
            <ac:picMkLst>
              <pc:docMk/>
              <pc:sldMasterMk cId="2272551599" sldId="2147483827"/>
              <pc:sldLayoutMk cId="1564545699" sldId="2147483839"/>
              <ac:picMk id="10" creationId="{4EFDA912-4A3A-4200-84F6-8D841CD04EF3}"/>
            </ac:picMkLst>
          </pc:picChg>
        </pc:sldLayoutChg>
      </pc:sldMasterChg>
      <pc:sldMasterChg chg="add modTransition addSldLayout modSldLayout">
        <pc:chgData name="Hagino, Mayu [JANJP]" userId="S::mhagino3@its.jnj.com::90699482-6b3e-479f-aef9-5595debdc6d5" providerId="AD" clId="Web-{FB67261C-4E6E-8A4B-4B45-5F7682CAB992}" dt="2019-11-12T08:58:02.817" v="25"/>
        <pc:sldMasterMkLst>
          <pc:docMk/>
          <pc:sldMasterMk cId="1002446658" sldId="2147483840"/>
        </pc:sldMasterMkLst>
        <pc:sldLayoutChg chg="add mod replId">
          <pc:chgData name="Hagino, Mayu [JANJP]" userId="S::mhagino3@its.jnj.com::90699482-6b3e-479f-aef9-5595debdc6d5" providerId="AD" clId="Web-{FB67261C-4E6E-8A4B-4B45-5F7682CAB992}" dt="2019-11-12T08:58:02.817" v="25"/>
          <pc:sldLayoutMkLst>
            <pc:docMk/>
            <pc:sldMasterMk cId="1002446658" sldId="2147483840"/>
            <pc:sldLayoutMk cId="3082908944" sldId="2147483841"/>
          </pc:sldLayoutMkLst>
        </pc:sldLayoutChg>
        <pc:sldLayoutChg chg="add mod replId">
          <pc:chgData name="Hagino, Mayu [JANJP]" userId="S::mhagino3@its.jnj.com::90699482-6b3e-479f-aef9-5595debdc6d5" providerId="AD" clId="Web-{FB67261C-4E6E-8A4B-4B45-5F7682CAB992}" dt="2019-11-12T08:58:02.817" v="25"/>
          <pc:sldLayoutMkLst>
            <pc:docMk/>
            <pc:sldMasterMk cId="1002446658" sldId="2147483840"/>
            <pc:sldLayoutMk cId="3631065301" sldId="2147483842"/>
          </pc:sldLayoutMkLst>
        </pc:sldLayoutChg>
        <pc:sldLayoutChg chg="add mod replId">
          <pc:chgData name="Hagino, Mayu [JANJP]" userId="S::mhagino3@its.jnj.com::90699482-6b3e-479f-aef9-5595debdc6d5" providerId="AD" clId="Web-{FB67261C-4E6E-8A4B-4B45-5F7682CAB992}" dt="2019-11-12T08:58:02.817" v="25"/>
          <pc:sldLayoutMkLst>
            <pc:docMk/>
            <pc:sldMasterMk cId="1002446658" sldId="2147483840"/>
            <pc:sldLayoutMk cId="176022934" sldId="2147483843"/>
          </pc:sldLayoutMkLst>
        </pc:sldLayoutChg>
        <pc:sldLayoutChg chg="add mod replId">
          <pc:chgData name="Hagino, Mayu [JANJP]" userId="S::mhagino3@its.jnj.com::90699482-6b3e-479f-aef9-5595debdc6d5" providerId="AD" clId="Web-{FB67261C-4E6E-8A4B-4B45-5F7682CAB992}" dt="2019-11-12T08:58:02.817" v="25"/>
          <pc:sldLayoutMkLst>
            <pc:docMk/>
            <pc:sldMasterMk cId="1002446658" sldId="2147483840"/>
            <pc:sldLayoutMk cId="598746969" sldId="2147483844"/>
          </pc:sldLayoutMkLst>
        </pc:sldLayoutChg>
        <pc:sldLayoutChg chg="add mod replId">
          <pc:chgData name="Hagino, Mayu [JANJP]" userId="S::mhagino3@its.jnj.com::90699482-6b3e-479f-aef9-5595debdc6d5" providerId="AD" clId="Web-{FB67261C-4E6E-8A4B-4B45-5F7682CAB992}" dt="2019-11-12T08:58:02.817" v="25"/>
          <pc:sldLayoutMkLst>
            <pc:docMk/>
            <pc:sldMasterMk cId="1002446658" sldId="2147483840"/>
            <pc:sldLayoutMk cId="2935392652" sldId="2147483845"/>
          </pc:sldLayoutMkLst>
        </pc:sldLayoutChg>
        <pc:sldLayoutChg chg="add mod replId">
          <pc:chgData name="Hagino, Mayu [JANJP]" userId="S::mhagino3@its.jnj.com::90699482-6b3e-479f-aef9-5595debdc6d5" providerId="AD" clId="Web-{FB67261C-4E6E-8A4B-4B45-5F7682CAB992}" dt="2019-11-12T08:58:02.817" v="25"/>
          <pc:sldLayoutMkLst>
            <pc:docMk/>
            <pc:sldMasterMk cId="1002446658" sldId="2147483840"/>
            <pc:sldLayoutMk cId="3011158070" sldId="2147483846"/>
          </pc:sldLayoutMkLst>
        </pc:sldLayoutChg>
        <pc:sldLayoutChg chg="add mod replId">
          <pc:chgData name="Hagino, Mayu [JANJP]" userId="S::mhagino3@its.jnj.com::90699482-6b3e-479f-aef9-5595debdc6d5" providerId="AD" clId="Web-{FB67261C-4E6E-8A4B-4B45-5F7682CAB992}" dt="2019-11-12T08:58:02.817" v="25"/>
          <pc:sldLayoutMkLst>
            <pc:docMk/>
            <pc:sldMasterMk cId="1002446658" sldId="2147483840"/>
            <pc:sldLayoutMk cId="2302651159" sldId="2147483847"/>
          </pc:sldLayoutMkLst>
        </pc:sldLayoutChg>
        <pc:sldLayoutChg chg="add mod replId">
          <pc:chgData name="Hagino, Mayu [JANJP]" userId="S::mhagino3@its.jnj.com::90699482-6b3e-479f-aef9-5595debdc6d5" providerId="AD" clId="Web-{FB67261C-4E6E-8A4B-4B45-5F7682CAB992}" dt="2019-11-12T08:58:02.817" v="25"/>
          <pc:sldLayoutMkLst>
            <pc:docMk/>
            <pc:sldMasterMk cId="1002446658" sldId="2147483840"/>
            <pc:sldLayoutMk cId="1245689110" sldId="2147483848"/>
          </pc:sldLayoutMkLst>
        </pc:sldLayoutChg>
        <pc:sldLayoutChg chg="add mod replId">
          <pc:chgData name="Hagino, Mayu [JANJP]" userId="S::mhagino3@its.jnj.com::90699482-6b3e-479f-aef9-5595debdc6d5" providerId="AD" clId="Web-{FB67261C-4E6E-8A4B-4B45-5F7682CAB992}" dt="2019-11-12T08:58:02.817" v="25"/>
          <pc:sldLayoutMkLst>
            <pc:docMk/>
            <pc:sldMasterMk cId="1002446658" sldId="2147483840"/>
            <pc:sldLayoutMk cId="2788261517" sldId="2147483849"/>
          </pc:sldLayoutMkLst>
        </pc:sldLayoutChg>
        <pc:sldLayoutChg chg="add mod replId">
          <pc:chgData name="Hagino, Mayu [JANJP]" userId="S::mhagino3@its.jnj.com::90699482-6b3e-479f-aef9-5595debdc6d5" providerId="AD" clId="Web-{FB67261C-4E6E-8A4B-4B45-5F7682CAB992}" dt="2019-11-12T08:58:02.817" v="25"/>
          <pc:sldLayoutMkLst>
            <pc:docMk/>
            <pc:sldMasterMk cId="1002446658" sldId="2147483840"/>
            <pc:sldLayoutMk cId="1358770478" sldId="2147483850"/>
          </pc:sldLayoutMkLst>
        </pc:sldLayoutChg>
        <pc:sldLayoutChg chg="add mod replId">
          <pc:chgData name="Hagino, Mayu [JANJP]" userId="S::mhagino3@its.jnj.com::90699482-6b3e-479f-aef9-5595debdc6d5" providerId="AD" clId="Web-{FB67261C-4E6E-8A4B-4B45-5F7682CAB992}" dt="2019-11-12T08:58:02.817" v="25"/>
          <pc:sldLayoutMkLst>
            <pc:docMk/>
            <pc:sldMasterMk cId="1002446658" sldId="2147483840"/>
            <pc:sldLayoutMk cId="1842133252" sldId="2147483851"/>
          </pc:sldLayoutMkLst>
        </pc:sldLayoutChg>
        <pc:sldLayoutChg chg="add mod replId">
          <pc:chgData name="Hagino, Mayu [JANJP]" userId="S::mhagino3@its.jnj.com::90699482-6b3e-479f-aef9-5595debdc6d5" providerId="AD" clId="Web-{FB67261C-4E6E-8A4B-4B45-5F7682CAB992}" dt="2019-11-12T08:58:02.817" v="25"/>
          <pc:sldLayoutMkLst>
            <pc:docMk/>
            <pc:sldMasterMk cId="1002446658" sldId="2147483840"/>
            <pc:sldLayoutMk cId="2705223939" sldId="2147483852"/>
          </pc:sldLayoutMkLst>
        </pc:sldLayoutChg>
      </pc:sldMasterChg>
      <pc:sldMasterChg chg="modSp add del modTransition addSldLayout delSldLayout modSldLayout">
        <pc:chgData name="Hagino, Mayu [JANJP]" userId="S::mhagino3@its.jnj.com::90699482-6b3e-479f-aef9-5595debdc6d5" providerId="AD" clId="Web-{FB67261C-4E6E-8A4B-4B45-5F7682CAB992}" dt="2019-11-12T08:57:06.315" v="22"/>
        <pc:sldMasterMkLst>
          <pc:docMk/>
          <pc:sldMasterMk cId="1401626942" sldId="2147483840"/>
        </pc:sldMasterMkLst>
        <pc:spChg chg="mod">
          <ac:chgData name="Hagino, Mayu [JANJP]" userId="S::mhagino3@its.jnj.com::90699482-6b3e-479f-aef9-5595debdc6d5" providerId="AD" clId="Web-{FB67261C-4E6E-8A4B-4B45-5F7682CAB992}" dt="2019-11-12T08:57:03.064" v="21"/>
          <ac:spMkLst>
            <pc:docMk/>
            <pc:sldMasterMk cId="1401626942" sldId="2147483840"/>
            <ac:spMk id="2"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ac:spMk id="3"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ac:spMk id="4"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ac:spMk id="5"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ac:spMk id="6" creationId="{00000000-0000-0000-0000-000000000000}"/>
          </ac:spMkLst>
        </pc:spChg>
        <pc:sldLayoutChg chg="modSp add del mod replId">
          <pc:chgData name="Hagino, Mayu [JANJP]" userId="S::mhagino3@its.jnj.com::90699482-6b3e-479f-aef9-5595debdc6d5" providerId="AD" clId="Web-{FB67261C-4E6E-8A4B-4B45-5F7682CAB992}" dt="2019-11-12T08:57:06.315" v="22"/>
          <pc:sldLayoutMkLst>
            <pc:docMk/>
            <pc:sldMasterMk cId="1401626942" sldId="2147483840"/>
            <pc:sldLayoutMk cId="2481420274" sldId="2147483841"/>
          </pc:sldLayoutMkLst>
          <pc:spChg chg="mod">
            <ac:chgData name="Hagino, Mayu [JANJP]" userId="S::mhagino3@its.jnj.com::90699482-6b3e-479f-aef9-5595debdc6d5" providerId="AD" clId="Web-{FB67261C-4E6E-8A4B-4B45-5F7682CAB992}" dt="2019-11-12T08:57:03.064" v="21"/>
            <ac:spMkLst>
              <pc:docMk/>
              <pc:sldMasterMk cId="1401626942" sldId="2147483840"/>
              <pc:sldLayoutMk cId="2481420274" sldId="2147483841"/>
              <ac:spMk id="2"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pc:sldLayoutMk cId="2481420274" sldId="2147483841"/>
              <ac:spMk id="3" creationId="{00000000-0000-0000-0000-000000000000}"/>
            </ac:spMkLst>
          </pc:spChg>
        </pc:sldLayoutChg>
        <pc:sldLayoutChg chg="add del mod replId">
          <pc:chgData name="Hagino, Mayu [JANJP]" userId="S::mhagino3@its.jnj.com::90699482-6b3e-479f-aef9-5595debdc6d5" providerId="AD" clId="Web-{FB67261C-4E6E-8A4B-4B45-5F7682CAB992}" dt="2019-11-12T08:57:06.315" v="22"/>
          <pc:sldLayoutMkLst>
            <pc:docMk/>
            <pc:sldMasterMk cId="1401626942" sldId="2147483840"/>
            <pc:sldLayoutMk cId="1481379563" sldId="2147483842"/>
          </pc:sldLayoutMkLst>
        </pc:sldLayoutChg>
        <pc:sldLayoutChg chg="modSp add del mod replId">
          <pc:chgData name="Hagino, Mayu [JANJP]" userId="S::mhagino3@its.jnj.com::90699482-6b3e-479f-aef9-5595debdc6d5" providerId="AD" clId="Web-{FB67261C-4E6E-8A4B-4B45-5F7682CAB992}" dt="2019-11-12T08:57:06.315" v="22"/>
          <pc:sldLayoutMkLst>
            <pc:docMk/>
            <pc:sldMasterMk cId="1401626942" sldId="2147483840"/>
            <pc:sldLayoutMk cId="1231477664" sldId="2147483843"/>
          </pc:sldLayoutMkLst>
          <pc:spChg chg="mod">
            <ac:chgData name="Hagino, Mayu [JANJP]" userId="S::mhagino3@its.jnj.com::90699482-6b3e-479f-aef9-5595debdc6d5" providerId="AD" clId="Web-{FB67261C-4E6E-8A4B-4B45-5F7682CAB992}" dt="2019-11-12T08:57:03.064" v="21"/>
            <ac:spMkLst>
              <pc:docMk/>
              <pc:sldMasterMk cId="1401626942" sldId="2147483840"/>
              <pc:sldLayoutMk cId="1231477664" sldId="2147483843"/>
              <ac:spMk id="2"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pc:sldLayoutMk cId="1231477664" sldId="2147483843"/>
              <ac:spMk id="3" creationId="{00000000-0000-0000-0000-000000000000}"/>
            </ac:spMkLst>
          </pc:spChg>
        </pc:sldLayoutChg>
        <pc:sldLayoutChg chg="modSp add del mod replId">
          <pc:chgData name="Hagino, Mayu [JANJP]" userId="S::mhagino3@its.jnj.com::90699482-6b3e-479f-aef9-5595debdc6d5" providerId="AD" clId="Web-{FB67261C-4E6E-8A4B-4B45-5F7682CAB992}" dt="2019-11-12T08:57:06.315" v="22"/>
          <pc:sldLayoutMkLst>
            <pc:docMk/>
            <pc:sldMasterMk cId="1401626942" sldId="2147483840"/>
            <pc:sldLayoutMk cId="469561974" sldId="2147483844"/>
          </pc:sldLayoutMkLst>
          <pc:spChg chg="mod">
            <ac:chgData name="Hagino, Mayu [JANJP]" userId="S::mhagino3@its.jnj.com::90699482-6b3e-479f-aef9-5595debdc6d5" providerId="AD" clId="Web-{FB67261C-4E6E-8A4B-4B45-5F7682CAB992}" dt="2019-11-12T08:57:03.064" v="21"/>
            <ac:spMkLst>
              <pc:docMk/>
              <pc:sldMasterMk cId="1401626942" sldId="2147483840"/>
              <pc:sldLayoutMk cId="469561974" sldId="2147483844"/>
              <ac:spMk id="3"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pc:sldLayoutMk cId="469561974" sldId="2147483844"/>
              <ac:spMk id="4" creationId="{00000000-0000-0000-0000-000000000000}"/>
            </ac:spMkLst>
          </pc:spChg>
        </pc:sldLayoutChg>
        <pc:sldLayoutChg chg="modSp add del mod replId">
          <pc:chgData name="Hagino, Mayu [JANJP]" userId="S::mhagino3@its.jnj.com::90699482-6b3e-479f-aef9-5595debdc6d5" providerId="AD" clId="Web-{FB67261C-4E6E-8A4B-4B45-5F7682CAB992}" dt="2019-11-12T08:57:06.315" v="22"/>
          <pc:sldLayoutMkLst>
            <pc:docMk/>
            <pc:sldMasterMk cId="1401626942" sldId="2147483840"/>
            <pc:sldLayoutMk cId="1810590176" sldId="2147483845"/>
          </pc:sldLayoutMkLst>
          <pc:spChg chg="mod">
            <ac:chgData name="Hagino, Mayu [JANJP]" userId="S::mhagino3@its.jnj.com::90699482-6b3e-479f-aef9-5595debdc6d5" providerId="AD" clId="Web-{FB67261C-4E6E-8A4B-4B45-5F7682CAB992}" dt="2019-11-12T08:57:03.064" v="21"/>
            <ac:spMkLst>
              <pc:docMk/>
              <pc:sldMasterMk cId="1401626942" sldId="2147483840"/>
              <pc:sldLayoutMk cId="1810590176" sldId="2147483845"/>
              <ac:spMk id="2"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pc:sldLayoutMk cId="1810590176" sldId="2147483845"/>
              <ac:spMk id="3"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pc:sldLayoutMk cId="1810590176" sldId="2147483845"/>
              <ac:spMk id="4"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pc:sldLayoutMk cId="1810590176" sldId="2147483845"/>
              <ac:spMk id="5"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pc:sldLayoutMk cId="1810590176" sldId="2147483845"/>
              <ac:spMk id="6" creationId="{00000000-0000-0000-0000-000000000000}"/>
            </ac:spMkLst>
          </pc:spChg>
        </pc:sldLayoutChg>
        <pc:sldLayoutChg chg="add del mod replId">
          <pc:chgData name="Hagino, Mayu [JANJP]" userId="S::mhagino3@its.jnj.com::90699482-6b3e-479f-aef9-5595debdc6d5" providerId="AD" clId="Web-{FB67261C-4E6E-8A4B-4B45-5F7682CAB992}" dt="2019-11-12T08:57:06.315" v="22"/>
          <pc:sldLayoutMkLst>
            <pc:docMk/>
            <pc:sldMasterMk cId="1401626942" sldId="2147483840"/>
            <pc:sldLayoutMk cId="4234477023" sldId="2147483846"/>
          </pc:sldLayoutMkLst>
        </pc:sldLayoutChg>
        <pc:sldLayoutChg chg="add del mod replId">
          <pc:chgData name="Hagino, Mayu [JANJP]" userId="S::mhagino3@its.jnj.com::90699482-6b3e-479f-aef9-5595debdc6d5" providerId="AD" clId="Web-{FB67261C-4E6E-8A4B-4B45-5F7682CAB992}" dt="2019-11-12T08:57:06.315" v="22"/>
          <pc:sldLayoutMkLst>
            <pc:docMk/>
            <pc:sldMasterMk cId="1401626942" sldId="2147483840"/>
            <pc:sldLayoutMk cId="3276312794" sldId="2147483847"/>
          </pc:sldLayoutMkLst>
        </pc:sldLayoutChg>
        <pc:sldLayoutChg chg="modSp add del mod replId">
          <pc:chgData name="Hagino, Mayu [JANJP]" userId="S::mhagino3@its.jnj.com::90699482-6b3e-479f-aef9-5595debdc6d5" providerId="AD" clId="Web-{FB67261C-4E6E-8A4B-4B45-5F7682CAB992}" dt="2019-11-12T08:57:06.315" v="22"/>
          <pc:sldLayoutMkLst>
            <pc:docMk/>
            <pc:sldMasterMk cId="1401626942" sldId="2147483840"/>
            <pc:sldLayoutMk cId="2226007296" sldId="2147483848"/>
          </pc:sldLayoutMkLst>
          <pc:spChg chg="mod">
            <ac:chgData name="Hagino, Mayu [JANJP]" userId="S::mhagino3@its.jnj.com::90699482-6b3e-479f-aef9-5595debdc6d5" providerId="AD" clId="Web-{FB67261C-4E6E-8A4B-4B45-5F7682CAB992}" dt="2019-11-12T08:57:03.064" v="21"/>
            <ac:spMkLst>
              <pc:docMk/>
              <pc:sldMasterMk cId="1401626942" sldId="2147483840"/>
              <pc:sldLayoutMk cId="2226007296" sldId="2147483848"/>
              <ac:spMk id="2"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pc:sldLayoutMk cId="2226007296" sldId="2147483848"/>
              <ac:spMk id="3"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pc:sldLayoutMk cId="2226007296" sldId="2147483848"/>
              <ac:spMk id="4" creationId="{00000000-0000-0000-0000-000000000000}"/>
            </ac:spMkLst>
          </pc:spChg>
        </pc:sldLayoutChg>
        <pc:sldLayoutChg chg="modSp add del mod replId">
          <pc:chgData name="Hagino, Mayu [JANJP]" userId="S::mhagino3@its.jnj.com::90699482-6b3e-479f-aef9-5595debdc6d5" providerId="AD" clId="Web-{FB67261C-4E6E-8A4B-4B45-5F7682CAB992}" dt="2019-11-12T08:57:06.315" v="22"/>
          <pc:sldLayoutMkLst>
            <pc:docMk/>
            <pc:sldMasterMk cId="1401626942" sldId="2147483840"/>
            <pc:sldLayoutMk cId="3654853206" sldId="2147483849"/>
          </pc:sldLayoutMkLst>
          <pc:spChg chg="mod">
            <ac:chgData name="Hagino, Mayu [JANJP]" userId="S::mhagino3@its.jnj.com::90699482-6b3e-479f-aef9-5595debdc6d5" providerId="AD" clId="Web-{FB67261C-4E6E-8A4B-4B45-5F7682CAB992}" dt="2019-11-12T08:57:03.064" v="21"/>
            <ac:spMkLst>
              <pc:docMk/>
              <pc:sldMasterMk cId="1401626942" sldId="2147483840"/>
              <pc:sldLayoutMk cId="3654853206" sldId="2147483849"/>
              <ac:spMk id="2"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pc:sldLayoutMk cId="3654853206" sldId="2147483849"/>
              <ac:spMk id="3"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pc:sldLayoutMk cId="3654853206" sldId="2147483849"/>
              <ac:spMk id="4" creationId="{00000000-0000-0000-0000-000000000000}"/>
            </ac:spMkLst>
          </pc:spChg>
        </pc:sldLayoutChg>
        <pc:sldLayoutChg chg="add del mod replId">
          <pc:chgData name="Hagino, Mayu [JANJP]" userId="S::mhagino3@its.jnj.com::90699482-6b3e-479f-aef9-5595debdc6d5" providerId="AD" clId="Web-{FB67261C-4E6E-8A4B-4B45-5F7682CAB992}" dt="2019-11-12T08:57:06.315" v="22"/>
          <pc:sldLayoutMkLst>
            <pc:docMk/>
            <pc:sldMasterMk cId="1401626942" sldId="2147483840"/>
            <pc:sldLayoutMk cId="4187224235" sldId="2147483850"/>
          </pc:sldLayoutMkLst>
        </pc:sldLayoutChg>
        <pc:sldLayoutChg chg="modSp add del mod replId">
          <pc:chgData name="Hagino, Mayu [JANJP]" userId="S::mhagino3@its.jnj.com::90699482-6b3e-479f-aef9-5595debdc6d5" providerId="AD" clId="Web-{FB67261C-4E6E-8A4B-4B45-5F7682CAB992}" dt="2019-11-12T08:57:06.315" v="22"/>
          <pc:sldLayoutMkLst>
            <pc:docMk/>
            <pc:sldMasterMk cId="1401626942" sldId="2147483840"/>
            <pc:sldLayoutMk cId="891912058" sldId="2147483851"/>
          </pc:sldLayoutMkLst>
          <pc:spChg chg="mod">
            <ac:chgData name="Hagino, Mayu [JANJP]" userId="S::mhagino3@its.jnj.com::90699482-6b3e-479f-aef9-5595debdc6d5" providerId="AD" clId="Web-{FB67261C-4E6E-8A4B-4B45-5F7682CAB992}" dt="2019-11-12T08:57:03.064" v="21"/>
            <ac:spMkLst>
              <pc:docMk/>
              <pc:sldMasterMk cId="1401626942" sldId="2147483840"/>
              <pc:sldLayoutMk cId="891912058" sldId="2147483851"/>
              <ac:spMk id="2"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pc:sldLayoutMk cId="891912058" sldId="2147483851"/>
              <ac:spMk id="3" creationId="{00000000-0000-0000-0000-000000000000}"/>
            </ac:spMkLst>
          </pc:spChg>
        </pc:sldLayoutChg>
        <pc:sldLayoutChg chg="modSp add del mod replId">
          <pc:chgData name="Hagino, Mayu [JANJP]" userId="S::mhagino3@its.jnj.com::90699482-6b3e-479f-aef9-5595debdc6d5" providerId="AD" clId="Web-{FB67261C-4E6E-8A4B-4B45-5F7682CAB992}" dt="2019-11-12T08:57:06.315" v="22"/>
          <pc:sldLayoutMkLst>
            <pc:docMk/>
            <pc:sldMasterMk cId="1401626942" sldId="2147483840"/>
            <pc:sldLayoutMk cId="1040115583" sldId="2147483852"/>
          </pc:sldLayoutMkLst>
          <pc:spChg chg="mod">
            <ac:chgData name="Hagino, Mayu [JANJP]" userId="S::mhagino3@its.jnj.com::90699482-6b3e-479f-aef9-5595debdc6d5" providerId="AD" clId="Web-{FB67261C-4E6E-8A4B-4B45-5F7682CAB992}" dt="2019-11-12T08:57:03.064" v="21"/>
            <ac:spMkLst>
              <pc:docMk/>
              <pc:sldMasterMk cId="1401626942" sldId="2147483840"/>
              <pc:sldLayoutMk cId="1040115583" sldId="2147483852"/>
              <ac:spMk id="11"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pc:sldLayoutMk cId="1040115583" sldId="2147483852"/>
              <ac:spMk id="12" creationId="{00000000-0000-0000-0000-000000000000}"/>
            </ac:spMkLst>
          </pc:spChg>
          <pc:spChg chg="mod">
            <ac:chgData name="Hagino, Mayu [JANJP]" userId="S::mhagino3@its.jnj.com::90699482-6b3e-479f-aef9-5595debdc6d5" providerId="AD" clId="Web-{FB67261C-4E6E-8A4B-4B45-5F7682CAB992}" dt="2019-11-12T08:57:03.064" v="21"/>
            <ac:spMkLst>
              <pc:docMk/>
              <pc:sldMasterMk cId="1401626942" sldId="2147483840"/>
              <pc:sldLayoutMk cId="1040115583" sldId="2147483852"/>
              <ac:spMk id="13" creationId="{00000000-0000-0000-0000-000000000000}"/>
            </ac:spMkLst>
          </pc:spChg>
          <pc:picChg chg="mod">
            <ac:chgData name="Hagino, Mayu [JANJP]" userId="S::mhagino3@its.jnj.com::90699482-6b3e-479f-aef9-5595debdc6d5" providerId="AD" clId="Web-{FB67261C-4E6E-8A4B-4B45-5F7682CAB992}" dt="2019-11-12T08:57:03.064" v="21"/>
            <ac:picMkLst>
              <pc:docMk/>
              <pc:sldMasterMk cId="1401626942" sldId="2147483840"/>
              <pc:sldLayoutMk cId="1040115583" sldId="2147483852"/>
              <ac:picMk id="9" creationId="{00000000-0000-0000-0000-000000000000}"/>
            </ac:picMkLst>
          </pc:picChg>
          <pc:picChg chg="mod">
            <ac:chgData name="Hagino, Mayu [JANJP]" userId="S::mhagino3@its.jnj.com::90699482-6b3e-479f-aef9-5595debdc6d5" providerId="AD" clId="Web-{FB67261C-4E6E-8A4B-4B45-5F7682CAB992}" dt="2019-11-12T08:57:03.064" v="21"/>
            <ac:picMkLst>
              <pc:docMk/>
              <pc:sldMasterMk cId="1401626942" sldId="2147483840"/>
              <pc:sldLayoutMk cId="1040115583" sldId="2147483852"/>
              <ac:picMk id="10" creationId="{4EFDA912-4A3A-4200-84F6-8D841CD04EF3}"/>
            </ac:picMkLst>
          </pc:picChg>
        </pc:sldLayoutChg>
      </pc:sldMasterChg>
      <pc:sldMasterChg chg="add del modTransition addSldLayout delSldLayout modSldLayout">
        <pc:chgData name="Hagino, Mayu [JANJP]" userId="S::mhagino3@its.jnj.com::90699482-6b3e-479f-aef9-5595debdc6d5" providerId="AD" clId="Web-{FB67261C-4E6E-8A4B-4B45-5F7682CAB992}" dt="2019-11-12T08:53:39.071" v="2"/>
        <pc:sldMasterMkLst>
          <pc:docMk/>
          <pc:sldMasterMk cId="2046725223" sldId="2147483840"/>
        </pc:sldMasterMkLst>
        <pc:sldLayoutChg chg="add del mod replId">
          <pc:chgData name="Hagino, Mayu [JANJP]" userId="S::mhagino3@its.jnj.com::90699482-6b3e-479f-aef9-5595debdc6d5" providerId="AD" clId="Web-{FB67261C-4E6E-8A4B-4B45-5F7682CAB992}" dt="2019-11-12T08:53:39.071" v="2"/>
          <pc:sldLayoutMkLst>
            <pc:docMk/>
            <pc:sldMasterMk cId="2046725223" sldId="2147483840"/>
            <pc:sldLayoutMk cId="3089334482" sldId="2147483841"/>
          </pc:sldLayoutMkLst>
        </pc:sldLayoutChg>
        <pc:sldLayoutChg chg="add del mod replId">
          <pc:chgData name="Hagino, Mayu [JANJP]" userId="S::mhagino3@its.jnj.com::90699482-6b3e-479f-aef9-5595debdc6d5" providerId="AD" clId="Web-{FB67261C-4E6E-8A4B-4B45-5F7682CAB992}" dt="2019-11-12T08:53:39.071" v="2"/>
          <pc:sldLayoutMkLst>
            <pc:docMk/>
            <pc:sldMasterMk cId="2046725223" sldId="2147483840"/>
            <pc:sldLayoutMk cId="3349220417" sldId="2147483842"/>
          </pc:sldLayoutMkLst>
        </pc:sldLayoutChg>
        <pc:sldLayoutChg chg="add del mod replId">
          <pc:chgData name="Hagino, Mayu [JANJP]" userId="S::mhagino3@its.jnj.com::90699482-6b3e-479f-aef9-5595debdc6d5" providerId="AD" clId="Web-{FB67261C-4E6E-8A4B-4B45-5F7682CAB992}" dt="2019-11-12T08:53:39.071" v="2"/>
          <pc:sldLayoutMkLst>
            <pc:docMk/>
            <pc:sldMasterMk cId="2046725223" sldId="2147483840"/>
            <pc:sldLayoutMk cId="1684541434" sldId="2147483843"/>
          </pc:sldLayoutMkLst>
        </pc:sldLayoutChg>
        <pc:sldLayoutChg chg="add del mod replId">
          <pc:chgData name="Hagino, Mayu [JANJP]" userId="S::mhagino3@its.jnj.com::90699482-6b3e-479f-aef9-5595debdc6d5" providerId="AD" clId="Web-{FB67261C-4E6E-8A4B-4B45-5F7682CAB992}" dt="2019-11-12T08:53:39.071" v="2"/>
          <pc:sldLayoutMkLst>
            <pc:docMk/>
            <pc:sldMasterMk cId="2046725223" sldId="2147483840"/>
            <pc:sldLayoutMk cId="2137627338" sldId="2147483844"/>
          </pc:sldLayoutMkLst>
        </pc:sldLayoutChg>
        <pc:sldLayoutChg chg="add del mod replId">
          <pc:chgData name="Hagino, Mayu [JANJP]" userId="S::mhagino3@its.jnj.com::90699482-6b3e-479f-aef9-5595debdc6d5" providerId="AD" clId="Web-{FB67261C-4E6E-8A4B-4B45-5F7682CAB992}" dt="2019-11-12T08:53:39.071" v="2"/>
          <pc:sldLayoutMkLst>
            <pc:docMk/>
            <pc:sldMasterMk cId="2046725223" sldId="2147483840"/>
            <pc:sldLayoutMk cId="369243147" sldId="2147483845"/>
          </pc:sldLayoutMkLst>
        </pc:sldLayoutChg>
        <pc:sldLayoutChg chg="add del mod replId">
          <pc:chgData name="Hagino, Mayu [JANJP]" userId="S::mhagino3@its.jnj.com::90699482-6b3e-479f-aef9-5595debdc6d5" providerId="AD" clId="Web-{FB67261C-4E6E-8A4B-4B45-5F7682CAB992}" dt="2019-11-12T08:53:39.071" v="2"/>
          <pc:sldLayoutMkLst>
            <pc:docMk/>
            <pc:sldMasterMk cId="2046725223" sldId="2147483840"/>
            <pc:sldLayoutMk cId="1241646058" sldId="2147483846"/>
          </pc:sldLayoutMkLst>
        </pc:sldLayoutChg>
        <pc:sldLayoutChg chg="add del mod replId">
          <pc:chgData name="Hagino, Mayu [JANJP]" userId="S::mhagino3@its.jnj.com::90699482-6b3e-479f-aef9-5595debdc6d5" providerId="AD" clId="Web-{FB67261C-4E6E-8A4B-4B45-5F7682CAB992}" dt="2019-11-12T08:53:39.071" v="2"/>
          <pc:sldLayoutMkLst>
            <pc:docMk/>
            <pc:sldMasterMk cId="2046725223" sldId="2147483840"/>
            <pc:sldLayoutMk cId="4002441173" sldId="2147483847"/>
          </pc:sldLayoutMkLst>
        </pc:sldLayoutChg>
        <pc:sldLayoutChg chg="add del mod replId">
          <pc:chgData name="Hagino, Mayu [JANJP]" userId="S::mhagino3@its.jnj.com::90699482-6b3e-479f-aef9-5595debdc6d5" providerId="AD" clId="Web-{FB67261C-4E6E-8A4B-4B45-5F7682CAB992}" dt="2019-11-12T08:53:39.071" v="2"/>
          <pc:sldLayoutMkLst>
            <pc:docMk/>
            <pc:sldMasterMk cId="2046725223" sldId="2147483840"/>
            <pc:sldLayoutMk cId="481690218" sldId="2147483848"/>
          </pc:sldLayoutMkLst>
        </pc:sldLayoutChg>
        <pc:sldLayoutChg chg="add del mod replId">
          <pc:chgData name="Hagino, Mayu [JANJP]" userId="S::mhagino3@its.jnj.com::90699482-6b3e-479f-aef9-5595debdc6d5" providerId="AD" clId="Web-{FB67261C-4E6E-8A4B-4B45-5F7682CAB992}" dt="2019-11-12T08:53:39.071" v="2"/>
          <pc:sldLayoutMkLst>
            <pc:docMk/>
            <pc:sldMasterMk cId="2046725223" sldId="2147483840"/>
            <pc:sldLayoutMk cId="3498711376" sldId="2147483849"/>
          </pc:sldLayoutMkLst>
        </pc:sldLayoutChg>
        <pc:sldLayoutChg chg="add del mod replId">
          <pc:chgData name="Hagino, Mayu [JANJP]" userId="S::mhagino3@its.jnj.com::90699482-6b3e-479f-aef9-5595debdc6d5" providerId="AD" clId="Web-{FB67261C-4E6E-8A4B-4B45-5F7682CAB992}" dt="2019-11-12T08:53:39.071" v="2"/>
          <pc:sldLayoutMkLst>
            <pc:docMk/>
            <pc:sldMasterMk cId="2046725223" sldId="2147483840"/>
            <pc:sldLayoutMk cId="3669438311" sldId="2147483850"/>
          </pc:sldLayoutMkLst>
        </pc:sldLayoutChg>
        <pc:sldLayoutChg chg="add del mod replId">
          <pc:chgData name="Hagino, Mayu [JANJP]" userId="S::mhagino3@its.jnj.com::90699482-6b3e-479f-aef9-5595debdc6d5" providerId="AD" clId="Web-{FB67261C-4E6E-8A4B-4B45-5F7682CAB992}" dt="2019-11-12T08:53:39.071" v="2"/>
          <pc:sldLayoutMkLst>
            <pc:docMk/>
            <pc:sldMasterMk cId="2046725223" sldId="2147483840"/>
            <pc:sldLayoutMk cId="4158699770" sldId="2147483851"/>
          </pc:sldLayoutMkLst>
        </pc:sldLayoutChg>
        <pc:sldLayoutChg chg="add del mod replId">
          <pc:chgData name="Hagino, Mayu [JANJP]" userId="S::mhagino3@its.jnj.com::90699482-6b3e-479f-aef9-5595debdc6d5" providerId="AD" clId="Web-{FB67261C-4E6E-8A4B-4B45-5F7682CAB992}" dt="2019-11-12T08:53:39.071" v="2"/>
          <pc:sldLayoutMkLst>
            <pc:docMk/>
            <pc:sldMasterMk cId="2046725223" sldId="2147483840"/>
            <pc:sldLayoutMk cId="3553478405" sldId="2147483852"/>
          </pc:sldLayoutMkLst>
        </pc:sldLayoutChg>
      </pc:sldMasterChg>
      <pc:sldMasterChg chg="modSp add del modTransition addSldLayout delSldLayout modSldLayout">
        <pc:chgData name="Hagino, Mayu [JANJP]" userId="S::mhagino3@its.jnj.com::90699482-6b3e-479f-aef9-5595debdc6d5" providerId="AD" clId="Web-{FB67261C-4E6E-8A4B-4B45-5F7682CAB992}" dt="2019-11-12T08:57:02.924" v="20"/>
        <pc:sldMasterMkLst>
          <pc:docMk/>
          <pc:sldMasterMk cId="2914175759" sldId="2147483853"/>
        </pc:sldMasterMkLst>
        <pc:spChg chg="mod">
          <ac:chgData name="Hagino, Mayu [JANJP]" userId="S::mhagino3@its.jnj.com::90699482-6b3e-479f-aef9-5595debdc6d5" providerId="AD" clId="Web-{FB67261C-4E6E-8A4B-4B45-5F7682CAB992}" dt="2019-11-12T08:56:59.549" v="19"/>
          <ac:spMkLst>
            <pc:docMk/>
            <pc:sldMasterMk cId="2914175759" sldId="2147483853"/>
            <ac:spMk id="2"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ac:spMk id="3"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ac:spMk id="4"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ac:spMk id="5"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ac:spMk id="6" creationId="{00000000-0000-0000-0000-000000000000}"/>
          </ac:spMkLst>
        </pc:spChg>
        <pc:sldLayoutChg chg="modSp add del mod replId">
          <pc:chgData name="Hagino, Mayu [JANJP]" userId="S::mhagino3@its.jnj.com::90699482-6b3e-479f-aef9-5595debdc6d5" providerId="AD" clId="Web-{FB67261C-4E6E-8A4B-4B45-5F7682CAB992}" dt="2019-11-12T08:57:02.924" v="20"/>
          <pc:sldLayoutMkLst>
            <pc:docMk/>
            <pc:sldMasterMk cId="2914175759" sldId="2147483853"/>
            <pc:sldLayoutMk cId="3104755560" sldId="2147483854"/>
          </pc:sldLayoutMkLst>
          <pc:spChg chg="mod">
            <ac:chgData name="Hagino, Mayu [JANJP]" userId="S::mhagino3@its.jnj.com::90699482-6b3e-479f-aef9-5595debdc6d5" providerId="AD" clId="Web-{FB67261C-4E6E-8A4B-4B45-5F7682CAB992}" dt="2019-11-12T08:56:59.549" v="19"/>
            <ac:spMkLst>
              <pc:docMk/>
              <pc:sldMasterMk cId="2914175759" sldId="2147483853"/>
              <pc:sldLayoutMk cId="3104755560" sldId="2147483854"/>
              <ac:spMk id="2"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pc:sldLayoutMk cId="3104755560" sldId="2147483854"/>
              <ac:spMk id="3" creationId="{00000000-0000-0000-0000-000000000000}"/>
            </ac:spMkLst>
          </pc:spChg>
        </pc:sldLayoutChg>
        <pc:sldLayoutChg chg="add del mod replId">
          <pc:chgData name="Hagino, Mayu [JANJP]" userId="S::mhagino3@its.jnj.com::90699482-6b3e-479f-aef9-5595debdc6d5" providerId="AD" clId="Web-{FB67261C-4E6E-8A4B-4B45-5F7682CAB992}" dt="2019-11-12T08:57:02.924" v="20"/>
          <pc:sldLayoutMkLst>
            <pc:docMk/>
            <pc:sldMasterMk cId="2914175759" sldId="2147483853"/>
            <pc:sldLayoutMk cId="200770072" sldId="2147483855"/>
          </pc:sldLayoutMkLst>
        </pc:sldLayoutChg>
        <pc:sldLayoutChg chg="modSp add del mod replId">
          <pc:chgData name="Hagino, Mayu [JANJP]" userId="S::mhagino3@its.jnj.com::90699482-6b3e-479f-aef9-5595debdc6d5" providerId="AD" clId="Web-{FB67261C-4E6E-8A4B-4B45-5F7682CAB992}" dt="2019-11-12T08:57:02.924" v="20"/>
          <pc:sldLayoutMkLst>
            <pc:docMk/>
            <pc:sldMasterMk cId="2914175759" sldId="2147483853"/>
            <pc:sldLayoutMk cId="3263027862" sldId="2147483856"/>
          </pc:sldLayoutMkLst>
          <pc:spChg chg="mod">
            <ac:chgData name="Hagino, Mayu [JANJP]" userId="S::mhagino3@its.jnj.com::90699482-6b3e-479f-aef9-5595debdc6d5" providerId="AD" clId="Web-{FB67261C-4E6E-8A4B-4B45-5F7682CAB992}" dt="2019-11-12T08:56:59.549" v="19"/>
            <ac:spMkLst>
              <pc:docMk/>
              <pc:sldMasterMk cId="2914175759" sldId="2147483853"/>
              <pc:sldLayoutMk cId="3263027862" sldId="2147483856"/>
              <ac:spMk id="2"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pc:sldLayoutMk cId="3263027862" sldId="2147483856"/>
              <ac:spMk id="3" creationId="{00000000-0000-0000-0000-000000000000}"/>
            </ac:spMkLst>
          </pc:spChg>
        </pc:sldLayoutChg>
        <pc:sldLayoutChg chg="modSp add del mod replId">
          <pc:chgData name="Hagino, Mayu [JANJP]" userId="S::mhagino3@its.jnj.com::90699482-6b3e-479f-aef9-5595debdc6d5" providerId="AD" clId="Web-{FB67261C-4E6E-8A4B-4B45-5F7682CAB992}" dt="2019-11-12T08:57:02.924" v="20"/>
          <pc:sldLayoutMkLst>
            <pc:docMk/>
            <pc:sldMasterMk cId="2914175759" sldId="2147483853"/>
            <pc:sldLayoutMk cId="1351354288" sldId="2147483857"/>
          </pc:sldLayoutMkLst>
          <pc:spChg chg="mod">
            <ac:chgData name="Hagino, Mayu [JANJP]" userId="S::mhagino3@its.jnj.com::90699482-6b3e-479f-aef9-5595debdc6d5" providerId="AD" clId="Web-{FB67261C-4E6E-8A4B-4B45-5F7682CAB992}" dt="2019-11-12T08:56:59.549" v="19"/>
            <ac:spMkLst>
              <pc:docMk/>
              <pc:sldMasterMk cId="2914175759" sldId="2147483853"/>
              <pc:sldLayoutMk cId="1351354288" sldId="2147483857"/>
              <ac:spMk id="3"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pc:sldLayoutMk cId="1351354288" sldId="2147483857"/>
              <ac:spMk id="4" creationId="{00000000-0000-0000-0000-000000000000}"/>
            </ac:spMkLst>
          </pc:spChg>
        </pc:sldLayoutChg>
        <pc:sldLayoutChg chg="modSp add del mod replId">
          <pc:chgData name="Hagino, Mayu [JANJP]" userId="S::mhagino3@its.jnj.com::90699482-6b3e-479f-aef9-5595debdc6d5" providerId="AD" clId="Web-{FB67261C-4E6E-8A4B-4B45-5F7682CAB992}" dt="2019-11-12T08:57:02.924" v="20"/>
          <pc:sldLayoutMkLst>
            <pc:docMk/>
            <pc:sldMasterMk cId="2914175759" sldId="2147483853"/>
            <pc:sldLayoutMk cId="727498628" sldId="2147483858"/>
          </pc:sldLayoutMkLst>
          <pc:spChg chg="mod">
            <ac:chgData name="Hagino, Mayu [JANJP]" userId="S::mhagino3@its.jnj.com::90699482-6b3e-479f-aef9-5595debdc6d5" providerId="AD" clId="Web-{FB67261C-4E6E-8A4B-4B45-5F7682CAB992}" dt="2019-11-12T08:56:59.549" v="19"/>
            <ac:spMkLst>
              <pc:docMk/>
              <pc:sldMasterMk cId="2914175759" sldId="2147483853"/>
              <pc:sldLayoutMk cId="727498628" sldId="2147483858"/>
              <ac:spMk id="2"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pc:sldLayoutMk cId="727498628" sldId="2147483858"/>
              <ac:spMk id="3"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pc:sldLayoutMk cId="727498628" sldId="2147483858"/>
              <ac:spMk id="4"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pc:sldLayoutMk cId="727498628" sldId="2147483858"/>
              <ac:spMk id="5"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pc:sldLayoutMk cId="727498628" sldId="2147483858"/>
              <ac:spMk id="6" creationId="{00000000-0000-0000-0000-000000000000}"/>
            </ac:spMkLst>
          </pc:spChg>
        </pc:sldLayoutChg>
        <pc:sldLayoutChg chg="add del mod replId">
          <pc:chgData name="Hagino, Mayu [JANJP]" userId="S::mhagino3@its.jnj.com::90699482-6b3e-479f-aef9-5595debdc6d5" providerId="AD" clId="Web-{FB67261C-4E6E-8A4B-4B45-5F7682CAB992}" dt="2019-11-12T08:57:02.924" v="20"/>
          <pc:sldLayoutMkLst>
            <pc:docMk/>
            <pc:sldMasterMk cId="2914175759" sldId="2147483853"/>
            <pc:sldLayoutMk cId="2774492547" sldId="2147483859"/>
          </pc:sldLayoutMkLst>
        </pc:sldLayoutChg>
        <pc:sldLayoutChg chg="add del mod replId">
          <pc:chgData name="Hagino, Mayu [JANJP]" userId="S::mhagino3@its.jnj.com::90699482-6b3e-479f-aef9-5595debdc6d5" providerId="AD" clId="Web-{FB67261C-4E6E-8A4B-4B45-5F7682CAB992}" dt="2019-11-12T08:57:02.924" v="20"/>
          <pc:sldLayoutMkLst>
            <pc:docMk/>
            <pc:sldMasterMk cId="2914175759" sldId="2147483853"/>
            <pc:sldLayoutMk cId="2941096923" sldId="2147483860"/>
          </pc:sldLayoutMkLst>
        </pc:sldLayoutChg>
        <pc:sldLayoutChg chg="modSp add del mod replId">
          <pc:chgData name="Hagino, Mayu [JANJP]" userId="S::mhagino3@its.jnj.com::90699482-6b3e-479f-aef9-5595debdc6d5" providerId="AD" clId="Web-{FB67261C-4E6E-8A4B-4B45-5F7682CAB992}" dt="2019-11-12T08:57:02.924" v="20"/>
          <pc:sldLayoutMkLst>
            <pc:docMk/>
            <pc:sldMasterMk cId="2914175759" sldId="2147483853"/>
            <pc:sldLayoutMk cId="2151047741" sldId="2147483861"/>
          </pc:sldLayoutMkLst>
          <pc:spChg chg="mod">
            <ac:chgData name="Hagino, Mayu [JANJP]" userId="S::mhagino3@its.jnj.com::90699482-6b3e-479f-aef9-5595debdc6d5" providerId="AD" clId="Web-{FB67261C-4E6E-8A4B-4B45-5F7682CAB992}" dt="2019-11-12T08:56:59.549" v="19"/>
            <ac:spMkLst>
              <pc:docMk/>
              <pc:sldMasterMk cId="2914175759" sldId="2147483853"/>
              <pc:sldLayoutMk cId="2151047741" sldId="2147483861"/>
              <ac:spMk id="2"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pc:sldLayoutMk cId="2151047741" sldId="2147483861"/>
              <ac:spMk id="3"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pc:sldLayoutMk cId="2151047741" sldId="2147483861"/>
              <ac:spMk id="4" creationId="{00000000-0000-0000-0000-000000000000}"/>
            </ac:spMkLst>
          </pc:spChg>
        </pc:sldLayoutChg>
        <pc:sldLayoutChg chg="modSp add del mod replId">
          <pc:chgData name="Hagino, Mayu [JANJP]" userId="S::mhagino3@its.jnj.com::90699482-6b3e-479f-aef9-5595debdc6d5" providerId="AD" clId="Web-{FB67261C-4E6E-8A4B-4B45-5F7682CAB992}" dt="2019-11-12T08:57:02.924" v="20"/>
          <pc:sldLayoutMkLst>
            <pc:docMk/>
            <pc:sldMasterMk cId="2914175759" sldId="2147483853"/>
            <pc:sldLayoutMk cId="1844611074" sldId="2147483862"/>
          </pc:sldLayoutMkLst>
          <pc:spChg chg="mod">
            <ac:chgData name="Hagino, Mayu [JANJP]" userId="S::mhagino3@its.jnj.com::90699482-6b3e-479f-aef9-5595debdc6d5" providerId="AD" clId="Web-{FB67261C-4E6E-8A4B-4B45-5F7682CAB992}" dt="2019-11-12T08:56:59.549" v="19"/>
            <ac:spMkLst>
              <pc:docMk/>
              <pc:sldMasterMk cId="2914175759" sldId="2147483853"/>
              <pc:sldLayoutMk cId="1844611074" sldId="2147483862"/>
              <ac:spMk id="2"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pc:sldLayoutMk cId="1844611074" sldId="2147483862"/>
              <ac:spMk id="3"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pc:sldLayoutMk cId="1844611074" sldId="2147483862"/>
              <ac:spMk id="4" creationId="{00000000-0000-0000-0000-000000000000}"/>
            </ac:spMkLst>
          </pc:spChg>
        </pc:sldLayoutChg>
        <pc:sldLayoutChg chg="add del mod replId">
          <pc:chgData name="Hagino, Mayu [JANJP]" userId="S::mhagino3@its.jnj.com::90699482-6b3e-479f-aef9-5595debdc6d5" providerId="AD" clId="Web-{FB67261C-4E6E-8A4B-4B45-5F7682CAB992}" dt="2019-11-12T08:57:02.924" v="20"/>
          <pc:sldLayoutMkLst>
            <pc:docMk/>
            <pc:sldMasterMk cId="2914175759" sldId="2147483853"/>
            <pc:sldLayoutMk cId="4056894722" sldId="2147483863"/>
          </pc:sldLayoutMkLst>
        </pc:sldLayoutChg>
        <pc:sldLayoutChg chg="modSp add del mod replId">
          <pc:chgData name="Hagino, Mayu [JANJP]" userId="S::mhagino3@its.jnj.com::90699482-6b3e-479f-aef9-5595debdc6d5" providerId="AD" clId="Web-{FB67261C-4E6E-8A4B-4B45-5F7682CAB992}" dt="2019-11-12T08:57:02.924" v="20"/>
          <pc:sldLayoutMkLst>
            <pc:docMk/>
            <pc:sldMasterMk cId="2914175759" sldId="2147483853"/>
            <pc:sldLayoutMk cId="1643198987" sldId="2147483864"/>
          </pc:sldLayoutMkLst>
          <pc:spChg chg="mod">
            <ac:chgData name="Hagino, Mayu [JANJP]" userId="S::mhagino3@its.jnj.com::90699482-6b3e-479f-aef9-5595debdc6d5" providerId="AD" clId="Web-{FB67261C-4E6E-8A4B-4B45-5F7682CAB992}" dt="2019-11-12T08:56:59.549" v="19"/>
            <ac:spMkLst>
              <pc:docMk/>
              <pc:sldMasterMk cId="2914175759" sldId="2147483853"/>
              <pc:sldLayoutMk cId="1643198987" sldId="2147483864"/>
              <ac:spMk id="2"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pc:sldLayoutMk cId="1643198987" sldId="2147483864"/>
              <ac:spMk id="3" creationId="{00000000-0000-0000-0000-000000000000}"/>
            </ac:spMkLst>
          </pc:spChg>
        </pc:sldLayoutChg>
        <pc:sldLayoutChg chg="modSp add del mod replId">
          <pc:chgData name="Hagino, Mayu [JANJP]" userId="S::mhagino3@its.jnj.com::90699482-6b3e-479f-aef9-5595debdc6d5" providerId="AD" clId="Web-{FB67261C-4E6E-8A4B-4B45-5F7682CAB992}" dt="2019-11-12T08:57:02.924" v="20"/>
          <pc:sldLayoutMkLst>
            <pc:docMk/>
            <pc:sldMasterMk cId="2914175759" sldId="2147483853"/>
            <pc:sldLayoutMk cId="3956920044" sldId="2147483865"/>
          </pc:sldLayoutMkLst>
          <pc:spChg chg="mod">
            <ac:chgData name="Hagino, Mayu [JANJP]" userId="S::mhagino3@its.jnj.com::90699482-6b3e-479f-aef9-5595debdc6d5" providerId="AD" clId="Web-{FB67261C-4E6E-8A4B-4B45-5F7682CAB992}" dt="2019-11-12T08:56:59.549" v="19"/>
            <ac:spMkLst>
              <pc:docMk/>
              <pc:sldMasterMk cId="2914175759" sldId="2147483853"/>
              <pc:sldLayoutMk cId="3956920044" sldId="2147483865"/>
              <ac:spMk id="11"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pc:sldLayoutMk cId="3956920044" sldId="2147483865"/>
              <ac:spMk id="12" creationId="{00000000-0000-0000-0000-000000000000}"/>
            </ac:spMkLst>
          </pc:spChg>
          <pc:spChg chg="mod">
            <ac:chgData name="Hagino, Mayu [JANJP]" userId="S::mhagino3@its.jnj.com::90699482-6b3e-479f-aef9-5595debdc6d5" providerId="AD" clId="Web-{FB67261C-4E6E-8A4B-4B45-5F7682CAB992}" dt="2019-11-12T08:56:59.549" v="19"/>
            <ac:spMkLst>
              <pc:docMk/>
              <pc:sldMasterMk cId="2914175759" sldId="2147483853"/>
              <pc:sldLayoutMk cId="3956920044" sldId="2147483865"/>
              <ac:spMk id="13" creationId="{00000000-0000-0000-0000-000000000000}"/>
            </ac:spMkLst>
          </pc:spChg>
          <pc:picChg chg="mod">
            <ac:chgData name="Hagino, Mayu [JANJP]" userId="S::mhagino3@its.jnj.com::90699482-6b3e-479f-aef9-5595debdc6d5" providerId="AD" clId="Web-{FB67261C-4E6E-8A4B-4B45-5F7682CAB992}" dt="2019-11-12T08:56:59.549" v="19"/>
            <ac:picMkLst>
              <pc:docMk/>
              <pc:sldMasterMk cId="2914175759" sldId="2147483853"/>
              <pc:sldLayoutMk cId="3956920044" sldId="2147483865"/>
              <ac:picMk id="9" creationId="{00000000-0000-0000-0000-000000000000}"/>
            </ac:picMkLst>
          </pc:picChg>
          <pc:picChg chg="mod">
            <ac:chgData name="Hagino, Mayu [JANJP]" userId="S::mhagino3@its.jnj.com::90699482-6b3e-479f-aef9-5595debdc6d5" providerId="AD" clId="Web-{FB67261C-4E6E-8A4B-4B45-5F7682CAB992}" dt="2019-11-12T08:56:59.549" v="19"/>
            <ac:picMkLst>
              <pc:docMk/>
              <pc:sldMasterMk cId="2914175759" sldId="2147483853"/>
              <pc:sldLayoutMk cId="3956920044" sldId="2147483865"/>
              <ac:picMk id="10" creationId="{4EFDA912-4A3A-4200-84F6-8D841CD04EF3}"/>
            </ac:picMkLst>
          </pc:picChg>
        </pc:sldLayoutChg>
      </pc:sldMasterChg>
      <pc:sldMasterChg chg="modSp add del modTransition addSldLayout delSldLayout modSldLayout">
        <pc:chgData name="Hagino, Mayu [JANJP]" userId="S::mhagino3@its.jnj.com::90699482-6b3e-479f-aef9-5595debdc6d5" providerId="AD" clId="Web-{FB67261C-4E6E-8A4B-4B45-5F7682CAB992}" dt="2019-11-12T08:56:59.502" v="18"/>
        <pc:sldMasterMkLst>
          <pc:docMk/>
          <pc:sldMasterMk cId="3328508667" sldId="2147483866"/>
        </pc:sldMasterMkLst>
        <pc:spChg chg="mod">
          <ac:chgData name="Hagino, Mayu [JANJP]" userId="S::mhagino3@its.jnj.com::90699482-6b3e-479f-aef9-5595debdc6d5" providerId="AD" clId="Web-{FB67261C-4E6E-8A4B-4B45-5F7682CAB992}" dt="2019-11-12T08:56:56.220" v="17"/>
          <ac:spMkLst>
            <pc:docMk/>
            <pc:sldMasterMk cId="3328508667" sldId="2147483866"/>
            <ac:spMk id="2"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ac:spMk id="3"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ac:spMk id="4"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ac:spMk id="5"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ac:spMk id="6" creationId="{00000000-0000-0000-0000-000000000000}"/>
          </ac:spMkLst>
        </pc:spChg>
        <pc:sldLayoutChg chg="modSp add del mod replId">
          <pc:chgData name="Hagino, Mayu [JANJP]" userId="S::mhagino3@its.jnj.com::90699482-6b3e-479f-aef9-5595debdc6d5" providerId="AD" clId="Web-{FB67261C-4E6E-8A4B-4B45-5F7682CAB992}" dt="2019-11-12T08:56:59.502" v="18"/>
          <pc:sldLayoutMkLst>
            <pc:docMk/>
            <pc:sldMasterMk cId="3328508667" sldId="2147483866"/>
            <pc:sldLayoutMk cId="3281289730" sldId="2147483867"/>
          </pc:sldLayoutMkLst>
          <pc:spChg chg="mod">
            <ac:chgData name="Hagino, Mayu [JANJP]" userId="S::mhagino3@its.jnj.com::90699482-6b3e-479f-aef9-5595debdc6d5" providerId="AD" clId="Web-{FB67261C-4E6E-8A4B-4B45-5F7682CAB992}" dt="2019-11-12T08:56:56.220" v="17"/>
            <ac:spMkLst>
              <pc:docMk/>
              <pc:sldMasterMk cId="3328508667" sldId="2147483866"/>
              <pc:sldLayoutMk cId="3281289730" sldId="2147483867"/>
              <ac:spMk id="2"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pc:sldLayoutMk cId="3281289730" sldId="2147483867"/>
              <ac:spMk id="3" creationId="{00000000-0000-0000-0000-000000000000}"/>
            </ac:spMkLst>
          </pc:spChg>
        </pc:sldLayoutChg>
        <pc:sldLayoutChg chg="add del mod replId">
          <pc:chgData name="Hagino, Mayu [JANJP]" userId="S::mhagino3@its.jnj.com::90699482-6b3e-479f-aef9-5595debdc6d5" providerId="AD" clId="Web-{FB67261C-4E6E-8A4B-4B45-5F7682CAB992}" dt="2019-11-12T08:56:59.502" v="18"/>
          <pc:sldLayoutMkLst>
            <pc:docMk/>
            <pc:sldMasterMk cId="3328508667" sldId="2147483866"/>
            <pc:sldLayoutMk cId="3181378376" sldId="2147483868"/>
          </pc:sldLayoutMkLst>
        </pc:sldLayoutChg>
        <pc:sldLayoutChg chg="modSp add del mod replId">
          <pc:chgData name="Hagino, Mayu [JANJP]" userId="S::mhagino3@its.jnj.com::90699482-6b3e-479f-aef9-5595debdc6d5" providerId="AD" clId="Web-{FB67261C-4E6E-8A4B-4B45-5F7682CAB992}" dt="2019-11-12T08:56:59.502" v="18"/>
          <pc:sldLayoutMkLst>
            <pc:docMk/>
            <pc:sldMasterMk cId="3328508667" sldId="2147483866"/>
            <pc:sldLayoutMk cId="799081703" sldId="2147483869"/>
          </pc:sldLayoutMkLst>
          <pc:spChg chg="mod">
            <ac:chgData name="Hagino, Mayu [JANJP]" userId="S::mhagino3@its.jnj.com::90699482-6b3e-479f-aef9-5595debdc6d5" providerId="AD" clId="Web-{FB67261C-4E6E-8A4B-4B45-5F7682CAB992}" dt="2019-11-12T08:56:56.220" v="17"/>
            <ac:spMkLst>
              <pc:docMk/>
              <pc:sldMasterMk cId="3328508667" sldId="2147483866"/>
              <pc:sldLayoutMk cId="799081703" sldId="2147483869"/>
              <ac:spMk id="2"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pc:sldLayoutMk cId="799081703" sldId="2147483869"/>
              <ac:spMk id="3" creationId="{00000000-0000-0000-0000-000000000000}"/>
            </ac:spMkLst>
          </pc:spChg>
        </pc:sldLayoutChg>
        <pc:sldLayoutChg chg="modSp add del mod replId">
          <pc:chgData name="Hagino, Mayu [JANJP]" userId="S::mhagino3@its.jnj.com::90699482-6b3e-479f-aef9-5595debdc6d5" providerId="AD" clId="Web-{FB67261C-4E6E-8A4B-4B45-5F7682CAB992}" dt="2019-11-12T08:56:59.502" v="18"/>
          <pc:sldLayoutMkLst>
            <pc:docMk/>
            <pc:sldMasterMk cId="3328508667" sldId="2147483866"/>
            <pc:sldLayoutMk cId="2637681057" sldId="2147483870"/>
          </pc:sldLayoutMkLst>
          <pc:spChg chg="mod">
            <ac:chgData name="Hagino, Mayu [JANJP]" userId="S::mhagino3@its.jnj.com::90699482-6b3e-479f-aef9-5595debdc6d5" providerId="AD" clId="Web-{FB67261C-4E6E-8A4B-4B45-5F7682CAB992}" dt="2019-11-12T08:56:56.220" v="17"/>
            <ac:spMkLst>
              <pc:docMk/>
              <pc:sldMasterMk cId="3328508667" sldId="2147483866"/>
              <pc:sldLayoutMk cId="2637681057" sldId="2147483870"/>
              <ac:spMk id="3"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pc:sldLayoutMk cId="2637681057" sldId="2147483870"/>
              <ac:spMk id="4" creationId="{00000000-0000-0000-0000-000000000000}"/>
            </ac:spMkLst>
          </pc:spChg>
        </pc:sldLayoutChg>
        <pc:sldLayoutChg chg="modSp add del mod replId">
          <pc:chgData name="Hagino, Mayu [JANJP]" userId="S::mhagino3@its.jnj.com::90699482-6b3e-479f-aef9-5595debdc6d5" providerId="AD" clId="Web-{FB67261C-4E6E-8A4B-4B45-5F7682CAB992}" dt="2019-11-12T08:56:59.502" v="18"/>
          <pc:sldLayoutMkLst>
            <pc:docMk/>
            <pc:sldMasterMk cId="3328508667" sldId="2147483866"/>
            <pc:sldLayoutMk cId="3244216550" sldId="2147483871"/>
          </pc:sldLayoutMkLst>
          <pc:spChg chg="mod">
            <ac:chgData name="Hagino, Mayu [JANJP]" userId="S::mhagino3@its.jnj.com::90699482-6b3e-479f-aef9-5595debdc6d5" providerId="AD" clId="Web-{FB67261C-4E6E-8A4B-4B45-5F7682CAB992}" dt="2019-11-12T08:56:56.220" v="17"/>
            <ac:spMkLst>
              <pc:docMk/>
              <pc:sldMasterMk cId="3328508667" sldId="2147483866"/>
              <pc:sldLayoutMk cId="3244216550" sldId="2147483871"/>
              <ac:spMk id="2"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pc:sldLayoutMk cId="3244216550" sldId="2147483871"/>
              <ac:spMk id="3"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pc:sldLayoutMk cId="3244216550" sldId="2147483871"/>
              <ac:spMk id="4"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pc:sldLayoutMk cId="3244216550" sldId="2147483871"/>
              <ac:spMk id="5"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pc:sldLayoutMk cId="3244216550" sldId="2147483871"/>
              <ac:spMk id="6" creationId="{00000000-0000-0000-0000-000000000000}"/>
            </ac:spMkLst>
          </pc:spChg>
        </pc:sldLayoutChg>
        <pc:sldLayoutChg chg="add del mod replId">
          <pc:chgData name="Hagino, Mayu [JANJP]" userId="S::mhagino3@its.jnj.com::90699482-6b3e-479f-aef9-5595debdc6d5" providerId="AD" clId="Web-{FB67261C-4E6E-8A4B-4B45-5F7682CAB992}" dt="2019-11-12T08:56:59.502" v="18"/>
          <pc:sldLayoutMkLst>
            <pc:docMk/>
            <pc:sldMasterMk cId="3328508667" sldId="2147483866"/>
            <pc:sldLayoutMk cId="1953121285" sldId="2147483872"/>
          </pc:sldLayoutMkLst>
        </pc:sldLayoutChg>
        <pc:sldLayoutChg chg="add del mod replId">
          <pc:chgData name="Hagino, Mayu [JANJP]" userId="S::mhagino3@its.jnj.com::90699482-6b3e-479f-aef9-5595debdc6d5" providerId="AD" clId="Web-{FB67261C-4E6E-8A4B-4B45-5F7682CAB992}" dt="2019-11-12T08:56:59.502" v="18"/>
          <pc:sldLayoutMkLst>
            <pc:docMk/>
            <pc:sldMasterMk cId="3328508667" sldId="2147483866"/>
            <pc:sldLayoutMk cId="3080185204" sldId="2147483873"/>
          </pc:sldLayoutMkLst>
        </pc:sldLayoutChg>
        <pc:sldLayoutChg chg="modSp add del mod replId">
          <pc:chgData name="Hagino, Mayu [JANJP]" userId="S::mhagino3@its.jnj.com::90699482-6b3e-479f-aef9-5595debdc6d5" providerId="AD" clId="Web-{FB67261C-4E6E-8A4B-4B45-5F7682CAB992}" dt="2019-11-12T08:56:59.502" v="18"/>
          <pc:sldLayoutMkLst>
            <pc:docMk/>
            <pc:sldMasterMk cId="3328508667" sldId="2147483866"/>
            <pc:sldLayoutMk cId="576962315" sldId="2147483874"/>
          </pc:sldLayoutMkLst>
          <pc:spChg chg="mod">
            <ac:chgData name="Hagino, Mayu [JANJP]" userId="S::mhagino3@its.jnj.com::90699482-6b3e-479f-aef9-5595debdc6d5" providerId="AD" clId="Web-{FB67261C-4E6E-8A4B-4B45-5F7682CAB992}" dt="2019-11-12T08:56:56.220" v="17"/>
            <ac:spMkLst>
              <pc:docMk/>
              <pc:sldMasterMk cId="3328508667" sldId="2147483866"/>
              <pc:sldLayoutMk cId="576962315" sldId="2147483874"/>
              <ac:spMk id="2"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pc:sldLayoutMk cId="576962315" sldId="2147483874"/>
              <ac:spMk id="3"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pc:sldLayoutMk cId="576962315" sldId="2147483874"/>
              <ac:spMk id="4" creationId="{00000000-0000-0000-0000-000000000000}"/>
            </ac:spMkLst>
          </pc:spChg>
        </pc:sldLayoutChg>
        <pc:sldLayoutChg chg="modSp add del mod replId">
          <pc:chgData name="Hagino, Mayu [JANJP]" userId="S::mhagino3@its.jnj.com::90699482-6b3e-479f-aef9-5595debdc6d5" providerId="AD" clId="Web-{FB67261C-4E6E-8A4B-4B45-5F7682CAB992}" dt="2019-11-12T08:56:59.502" v="18"/>
          <pc:sldLayoutMkLst>
            <pc:docMk/>
            <pc:sldMasterMk cId="3328508667" sldId="2147483866"/>
            <pc:sldLayoutMk cId="698287944" sldId="2147483875"/>
          </pc:sldLayoutMkLst>
          <pc:spChg chg="mod">
            <ac:chgData name="Hagino, Mayu [JANJP]" userId="S::mhagino3@its.jnj.com::90699482-6b3e-479f-aef9-5595debdc6d5" providerId="AD" clId="Web-{FB67261C-4E6E-8A4B-4B45-5F7682CAB992}" dt="2019-11-12T08:56:56.220" v="17"/>
            <ac:spMkLst>
              <pc:docMk/>
              <pc:sldMasterMk cId="3328508667" sldId="2147483866"/>
              <pc:sldLayoutMk cId="698287944" sldId="2147483875"/>
              <ac:spMk id="2"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pc:sldLayoutMk cId="698287944" sldId="2147483875"/>
              <ac:spMk id="3"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pc:sldLayoutMk cId="698287944" sldId="2147483875"/>
              <ac:spMk id="4" creationId="{00000000-0000-0000-0000-000000000000}"/>
            </ac:spMkLst>
          </pc:spChg>
        </pc:sldLayoutChg>
        <pc:sldLayoutChg chg="add del mod replId">
          <pc:chgData name="Hagino, Mayu [JANJP]" userId="S::mhagino3@its.jnj.com::90699482-6b3e-479f-aef9-5595debdc6d5" providerId="AD" clId="Web-{FB67261C-4E6E-8A4B-4B45-5F7682CAB992}" dt="2019-11-12T08:56:59.502" v="18"/>
          <pc:sldLayoutMkLst>
            <pc:docMk/>
            <pc:sldMasterMk cId="3328508667" sldId="2147483866"/>
            <pc:sldLayoutMk cId="282299199" sldId="2147483876"/>
          </pc:sldLayoutMkLst>
        </pc:sldLayoutChg>
        <pc:sldLayoutChg chg="modSp add del mod replId">
          <pc:chgData name="Hagino, Mayu [JANJP]" userId="S::mhagino3@its.jnj.com::90699482-6b3e-479f-aef9-5595debdc6d5" providerId="AD" clId="Web-{FB67261C-4E6E-8A4B-4B45-5F7682CAB992}" dt="2019-11-12T08:56:59.502" v="18"/>
          <pc:sldLayoutMkLst>
            <pc:docMk/>
            <pc:sldMasterMk cId="3328508667" sldId="2147483866"/>
            <pc:sldLayoutMk cId="679127083" sldId="2147483877"/>
          </pc:sldLayoutMkLst>
          <pc:spChg chg="mod">
            <ac:chgData name="Hagino, Mayu [JANJP]" userId="S::mhagino3@its.jnj.com::90699482-6b3e-479f-aef9-5595debdc6d5" providerId="AD" clId="Web-{FB67261C-4E6E-8A4B-4B45-5F7682CAB992}" dt="2019-11-12T08:56:56.220" v="17"/>
            <ac:spMkLst>
              <pc:docMk/>
              <pc:sldMasterMk cId="3328508667" sldId="2147483866"/>
              <pc:sldLayoutMk cId="679127083" sldId="2147483877"/>
              <ac:spMk id="2"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pc:sldLayoutMk cId="679127083" sldId="2147483877"/>
              <ac:spMk id="3" creationId="{00000000-0000-0000-0000-000000000000}"/>
            </ac:spMkLst>
          </pc:spChg>
        </pc:sldLayoutChg>
        <pc:sldLayoutChg chg="modSp add del mod replId">
          <pc:chgData name="Hagino, Mayu [JANJP]" userId="S::mhagino3@its.jnj.com::90699482-6b3e-479f-aef9-5595debdc6d5" providerId="AD" clId="Web-{FB67261C-4E6E-8A4B-4B45-5F7682CAB992}" dt="2019-11-12T08:56:59.502" v="18"/>
          <pc:sldLayoutMkLst>
            <pc:docMk/>
            <pc:sldMasterMk cId="3328508667" sldId="2147483866"/>
            <pc:sldLayoutMk cId="3389190204" sldId="2147483878"/>
          </pc:sldLayoutMkLst>
          <pc:spChg chg="mod">
            <ac:chgData name="Hagino, Mayu [JANJP]" userId="S::mhagino3@its.jnj.com::90699482-6b3e-479f-aef9-5595debdc6d5" providerId="AD" clId="Web-{FB67261C-4E6E-8A4B-4B45-5F7682CAB992}" dt="2019-11-12T08:56:56.220" v="17"/>
            <ac:spMkLst>
              <pc:docMk/>
              <pc:sldMasterMk cId="3328508667" sldId="2147483866"/>
              <pc:sldLayoutMk cId="3389190204" sldId="2147483878"/>
              <ac:spMk id="11"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pc:sldLayoutMk cId="3389190204" sldId="2147483878"/>
              <ac:spMk id="12" creationId="{00000000-0000-0000-0000-000000000000}"/>
            </ac:spMkLst>
          </pc:spChg>
          <pc:spChg chg="mod">
            <ac:chgData name="Hagino, Mayu [JANJP]" userId="S::mhagino3@its.jnj.com::90699482-6b3e-479f-aef9-5595debdc6d5" providerId="AD" clId="Web-{FB67261C-4E6E-8A4B-4B45-5F7682CAB992}" dt="2019-11-12T08:56:56.220" v="17"/>
            <ac:spMkLst>
              <pc:docMk/>
              <pc:sldMasterMk cId="3328508667" sldId="2147483866"/>
              <pc:sldLayoutMk cId="3389190204" sldId="2147483878"/>
              <ac:spMk id="13" creationId="{00000000-0000-0000-0000-000000000000}"/>
            </ac:spMkLst>
          </pc:spChg>
          <pc:picChg chg="mod">
            <ac:chgData name="Hagino, Mayu [JANJP]" userId="S::mhagino3@its.jnj.com::90699482-6b3e-479f-aef9-5595debdc6d5" providerId="AD" clId="Web-{FB67261C-4E6E-8A4B-4B45-5F7682CAB992}" dt="2019-11-12T08:56:56.220" v="17"/>
            <ac:picMkLst>
              <pc:docMk/>
              <pc:sldMasterMk cId="3328508667" sldId="2147483866"/>
              <pc:sldLayoutMk cId="3389190204" sldId="2147483878"/>
              <ac:picMk id="9" creationId="{00000000-0000-0000-0000-000000000000}"/>
            </ac:picMkLst>
          </pc:picChg>
          <pc:picChg chg="mod">
            <ac:chgData name="Hagino, Mayu [JANJP]" userId="S::mhagino3@its.jnj.com::90699482-6b3e-479f-aef9-5595debdc6d5" providerId="AD" clId="Web-{FB67261C-4E6E-8A4B-4B45-5F7682CAB992}" dt="2019-11-12T08:56:56.220" v="17"/>
            <ac:picMkLst>
              <pc:docMk/>
              <pc:sldMasterMk cId="3328508667" sldId="2147483866"/>
              <pc:sldLayoutMk cId="3389190204" sldId="2147483878"/>
              <ac:picMk id="10" creationId="{4EFDA912-4A3A-4200-84F6-8D841CD04EF3}"/>
            </ac:picMkLst>
          </pc:picChg>
        </pc:sldLayoutChg>
      </pc:sldMasterChg>
      <pc:sldMasterChg chg="modSp add del modTransition addSldLayout delSldLayout modSldLayout">
        <pc:chgData name="Hagino, Mayu [JANJP]" userId="S::mhagino3@its.jnj.com::90699482-6b3e-479f-aef9-5595debdc6d5" providerId="AD" clId="Web-{FB67261C-4E6E-8A4B-4B45-5F7682CAB992}" dt="2019-11-12T08:56:56.174" v="16"/>
        <pc:sldMasterMkLst>
          <pc:docMk/>
          <pc:sldMasterMk cId="1843684134" sldId="2147483879"/>
        </pc:sldMasterMkLst>
        <pc:spChg chg="mod">
          <ac:chgData name="Hagino, Mayu [JANJP]" userId="S::mhagino3@its.jnj.com::90699482-6b3e-479f-aef9-5595debdc6d5" providerId="AD" clId="Web-{FB67261C-4E6E-8A4B-4B45-5F7682CAB992}" dt="2019-11-12T08:56:51.455" v="15"/>
          <ac:spMkLst>
            <pc:docMk/>
            <pc:sldMasterMk cId="1843684134" sldId="2147483879"/>
            <ac:spMk id="2"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ac:spMk id="3"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ac:spMk id="4"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ac:spMk id="5"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ac:spMk id="6" creationId="{00000000-0000-0000-0000-000000000000}"/>
          </ac:spMkLst>
        </pc:spChg>
        <pc:sldLayoutChg chg="modSp add del mod replId">
          <pc:chgData name="Hagino, Mayu [JANJP]" userId="S::mhagino3@its.jnj.com::90699482-6b3e-479f-aef9-5595debdc6d5" providerId="AD" clId="Web-{FB67261C-4E6E-8A4B-4B45-5F7682CAB992}" dt="2019-11-12T08:56:56.174" v="16"/>
          <pc:sldLayoutMkLst>
            <pc:docMk/>
            <pc:sldMasterMk cId="1843684134" sldId="2147483879"/>
            <pc:sldLayoutMk cId="3993033464" sldId="2147483880"/>
          </pc:sldLayoutMkLst>
          <pc:spChg chg="mod">
            <ac:chgData name="Hagino, Mayu [JANJP]" userId="S::mhagino3@its.jnj.com::90699482-6b3e-479f-aef9-5595debdc6d5" providerId="AD" clId="Web-{FB67261C-4E6E-8A4B-4B45-5F7682CAB992}" dt="2019-11-12T08:56:51.455" v="15"/>
            <ac:spMkLst>
              <pc:docMk/>
              <pc:sldMasterMk cId="1843684134" sldId="2147483879"/>
              <pc:sldLayoutMk cId="3993033464" sldId="2147483880"/>
              <ac:spMk id="2"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pc:sldLayoutMk cId="3993033464" sldId="2147483880"/>
              <ac:spMk id="3" creationId="{00000000-0000-0000-0000-000000000000}"/>
            </ac:spMkLst>
          </pc:spChg>
        </pc:sldLayoutChg>
        <pc:sldLayoutChg chg="add del mod replId">
          <pc:chgData name="Hagino, Mayu [JANJP]" userId="S::mhagino3@its.jnj.com::90699482-6b3e-479f-aef9-5595debdc6d5" providerId="AD" clId="Web-{FB67261C-4E6E-8A4B-4B45-5F7682CAB992}" dt="2019-11-12T08:56:56.174" v="16"/>
          <pc:sldLayoutMkLst>
            <pc:docMk/>
            <pc:sldMasterMk cId="1843684134" sldId="2147483879"/>
            <pc:sldLayoutMk cId="1479772791" sldId="2147483881"/>
          </pc:sldLayoutMkLst>
        </pc:sldLayoutChg>
        <pc:sldLayoutChg chg="modSp add del mod replId">
          <pc:chgData name="Hagino, Mayu [JANJP]" userId="S::mhagino3@its.jnj.com::90699482-6b3e-479f-aef9-5595debdc6d5" providerId="AD" clId="Web-{FB67261C-4E6E-8A4B-4B45-5F7682CAB992}" dt="2019-11-12T08:56:56.174" v="16"/>
          <pc:sldLayoutMkLst>
            <pc:docMk/>
            <pc:sldMasterMk cId="1843684134" sldId="2147483879"/>
            <pc:sldLayoutMk cId="3284552208" sldId="2147483882"/>
          </pc:sldLayoutMkLst>
          <pc:spChg chg="mod">
            <ac:chgData name="Hagino, Mayu [JANJP]" userId="S::mhagino3@its.jnj.com::90699482-6b3e-479f-aef9-5595debdc6d5" providerId="AD" clId="Web-{FB67261C-4E6E-8A4B-4B45-5F7682CAB992}" dt="2019-11-12T08:56:51.455" v="15"/>
            <ac:spMkLst>
              <pc:docMk/>
              <pc:sldMasterMk cId="1843684134" sldId="2147483879"/>
              <pc:sldLayoutMk cId="3284552208" sldId="2147483882"/>
              <ac:spMk id="2"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pc:sldLayoutMk cId="3284552208" sldId="2147483882"/>
              <ac:spMk id="3" creationId="{00000000-0000-0000-0000-000000000000}"/>
            </ac:spMkLst>
          </pc:spChg>
        </pc:sldLayoutChg>
        <pc:sldLayoutChg chg="modSp add del mod replId">
          <pc:chgData name="Hagino, Mayu [JANJP]" userId="S::mhagino3@its.jnj.com::90699482-6b3e-479f-aef9-5595debdc6d5" providerId="AD" clId="Web-{FB67261C-4E6E-8A4B-4B45-5F7682CAB992}" dt="2019-11-12T08:56:56.174" v="16"/>
          <pc:sldLayoutMkLst>
            <pc:docMk/>
            <pc:sldMasterMk cId="1843684134" sldId="2147483879"/>
            <pc:sldLayoutMk cId="2617768763" sldId="2147483883"/>
          </pc:sldLayoutMkLst>
          <pc:spChg chg="mod">
            <ac:chgData name="Hagino, Mayu [JANJP]" userId="S::mhagino3@its.jnj.com::90699482-6b3e-479f-aef9-5595debdc6d5" providerId="AD" clId="Web-{FB67261C-4E6E-8A4B-4B45-5F7682CAB992}" dt="2019-11-12T08:56:51.455" v="15"/>
            <ac:spMkLst>
              <pc:docMk/>
              <pc:sldMasterMk cId="1843684134" sldId="2147483879"/>
              <pc:sldLayoutMk cId="2617768763" sldId="2147483883"/>
              <ac:spMk id="3"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pc:sldLayoutMk cId="2617768763" sldId="2147483883"/>
              <ac:spMk id="4" creationId="{00000000-0000-0000-0000-000000000000}"/>
            </ac:spMkLst>
          </pc:spChg>
        </pc:sldLayoutChg>
        <pc:sldLayoutChg chg="modSp add del mod replId">
          <pc:chgData name="Hagino, Mayu [JANJP]" userId="S::mhagino3@its.jnj.com::90699482-6b3e-479f-aef9-5595debdc6d5" providerId="AD" clId="Web-{FB67261C-4E6E-8A4B-4B45-5F7682CAB992}" dt="2019-11-12T08:56:56.174" v="16"/>
          <pc:sldLayoutMkLst>
            <pc:docMk/>
            <pc:sldMasterMk cId="1843684134" sldId="2147483879"/>
            <pc:sldLayoutMk cId="3405652870" sldId="2147483884"/>
          </pc:sldLayoutMkLst>
          <pc:spChg chg="mod">
            <ac:chgData name="Hagino, Mayu [JANJP]" userId="S::mhagino3@its.jnj.com::90699482-6b3e-479f-aef9-5595debdc6d5" providerId="AD" clId="Web-{FB67261C-4E6E-8A4B-4B45-5F7682CAB992}" dt="2019-11-12T08:56:51.455" v="15"/>
            <ac:spMkLst>
              <pc:docMk/>
              <pc:sldMasterMk cId="1843684134" sldId="2147483879"/>
              <pc:sldLayoutMk cId="3405652870" sldId="2147483884"/>
              <ac:spMk id="2"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pc:sldLayoutMk cId="3405652870" sldId="2147483884"/>
              <ac:spMk id="3"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pc:sldLayoutMk cId="3405652870" sldId="2147483884"/>
              <ac:spMk id="4"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pc:sldLayoutMk cId="3405652870" sldId="2147483884"/>
              <ac:spMk id="5"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pc:sldLayoutMk cId="3405652870" sldId="2147483884"/>
              <ac:spMk id="6" creationId="{00000000-0000-0000-0000-000000000000}"/>
            </ac:spMkLst>
          </pc:spChg>
        </pc:sldLayoutChg>
        <pc:sldLayoutChg chg="add del mod replId">
          <pc:chgData name="Hagino, Mayu [JANJP]" userId="S::mhagino3@its.jnj.com::90699482-6b3e-479f-aef9-5595debdc6d5" providerId="AD" clId="Web-{FB67261C-4E6E-8A4B-4B45-5F7682CAB992}" dt="2019-11-12T08:56:56.174" v="16"/>
          <pc:sldLayoutMkLst>
            <pc:docMk/>
            <pc:sldMasterMk cId="1843684134" sldId="2147483879"/>
            <pc:sldLayoutMk cId="1094888390" sldId="2147483885"/>
          </pc:sldLayoutMkLst>
        </pc:sldLayoutChg>
        <pc:sldLayoutChg chg="add del mod replId">
          <pc:chgData name="Hagino, Mayu [JANJP]" userId="S::mhagino3@its.jnj.com::90699482-6b3e-479f-aef9-5595debdc6d5" providerId="AD" clId="Web-{FB67261C-4E6E-8A4B-4B45-5F7682CAB992}" dt="2019-11-12T08:56:56.174" v="16"/>
          <pc:sldLayoutMkLst>
            <pc:docMk/>
            <pc:sldMasterMk cId="1843684134" sldId="2147483879"/>
            <pc:sldLayoutMk cId="2259619143" sldId="2147483886"/>
          </pc:sldLayoutMkLst>
        </pc:sldLayoutChg>
        <pc:sldLayoutChg chg="modSp add del mod replId">
          <pc:chgData name="Hagino, Mayu [JANJP]" userId="S::mhagino3@its.jnj.com::90699482-6b3e-479f-aef9-5595debdc6d5" providerId="AD" clId="Web-{FB67261C-4E6E-8A4B-4B45-5F7682CAB992}" dt="2019-11-12T08:56:56.174" v="16"/>
          <pc:sldLayoutMkLst>
            <pc:docMk/>
            <pc:sldMasterMk cId="1843684134" sldId="2147483879"/>
            <pc:sldLayoutMk cId="2084318822" sldId="2147483887"/>
          </pc:sldLayoutMkLst>
          <pc:spChg chg="mod">
            <ac:chgData name="Hagino, Mayu [JANJP]" userId="S::mhagino3@its.jnj.com::90699482-6b3e-479f-aef9-5595debdc6d5" providerId="AD" clId="Web-{FB67261C-4E6E-8A4B-4B45-5F7682CAB992}" dt="2019-11-12T08:56:51.455" v="15"/>
            <ac:spMkLst>
              <pc:docMk/>
              <pc:sldMasterMk cId="1843684134" sldId="2147483879"/>
              <pc:sldLayoutMk cId="2084318822" sldId="2147483887"/>
              <ac:spMk id="2"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pc:sldLayoutMk cId="2084318822" sldId="2147483887"/>
              <ac:spMk id="3"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pc:sldLayoutMk cId="2084318822" sldId="2147483887"/>
              <ac:spMk id="4" creationId="{00000000-0000-0000-0000-000000000000}"/>
            </ac:spMkLst>
          </pc:spChg>
        </pc:sldLayoutChg>
        <pc:sldLayoutChg chg="modSp add del mod replId">
          <pc:chgData name="Hagino, Mayu [JANJP]" userId="S::mhagino3@its.jnj.com::90699482-6b3e-479f-aef9-5595debdc6d5" providerId="AD" clId="Web-{FB67261C-4E6E-8A4B-4B45-5F7682CAB992}" dt="2019-11-12T08:56:56.174" v="16"/>
          <pc:sldLayoutMkLst>
            <pc:docMk/>
            <pc:sldMasterMk cId="1843684134" sldId="2147483879"/>
            <pc:sldLayoutMk cId="3414448775" sldId="2147483888"/>
          </pc:sldLayoutMkLst>
          <pc:spChg chg="mod">
            <ac:chgData name="Hagino, Mayu [JANJP]" userId="S::mhagino3@its.jnj.com::90699482-6b3e-479f-aef9-5595debdc6d5" providerId="AD" clId="Web-{FB67261C-4E6E-8A4B-4B45-5F7682CAB992}" dt="2019-11-12T08:56:51.455" v="15"/>
            <ac:spMkLst>
              <pc:docMk/>
              <pc:sldMasterMk cId="1843684134" sldId="2147483879"/>
              <pc:sldLayoutMk cId="3414448775" sldId="2147483888"/>
              <ac:spMk id="2"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pc:sldLayoutMk cId="3414448775" sldId="2147483888"/>
              <ac:spMk id="3"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pc:sldLayoutMk cId="3414448775" sldId="2147483888"/>
              <ac:spMk id="4" creationId="{00000000-0000-0000-0000-000000000000}"/>
            </ac:spMkLst>
          </pc:spChg>
        </pc:sldLayoutChg>
        <pc:sldLayoutChg chg="add del mod replId">
          <pc:chgData name="Hagino, Mayu [JANJP]" userId="S::mhagino3@its.jnj.com::90699482-6b3e-479f-aef9-5595debdc6d5" providerId="AD" clId="Web-{FB67261C-4E6E-8A4B-4B45-5F7682CAB992}" dt="2019-11-12T08:56:56.174" v="16"/>
          <pc:sldLayoutMkLst>
            <pc:docMk/>
            <pc:sldMasterMk cId="1843684134" sldId="2147483879"/>
            <pc:sldLayoutMk cId="2671092915" sldId="2147483889"/>
          </pc:sldLayoutMkLst>
        </pc:sldLayoutChg>
        <pc:sldLayoutChg chg="modSp add del mod replId">
          <pc:chgData name="Hagino, Mayu [JANJP]" userId="S::mhagino3@its.jnj.com::90699482-6b3e-479f-aef9-5595debdc6d5" providerId="AD" clId="Web-{FB67261C-4E6E-8A4B-4B45-5F7682CAB992}" dt="2019-11-12T08:56:56.174" v="16"/>
          <pc:sldLayoutMkLst>
            <pc:docMk/>
            <pc:sldMasterMk cId="1843684134" sldId="2147483879"/>
            <pc:sldLayoutMk cId="1279176577" sldId="2147483890"/>
          </pc:sldLayoutMkLst>
          <pc:spChg chg="mod">
            <ac:chgData name="Hagino, Mayu [JANJP]" userId="S::mhagino3@its.jnj.com::90699482-6b3e-479f-aef9-5595debdc6d5" providerId="AD" clId="Web-{FB67261C-4E6E-8A4B-4B45-5F7682CAB992}" dt="2019-11-12T08:56:51.455" v="15"/>
            <ac:spMkLst>
              <pc:docMk/>
              <pc:sldMasterMk cId="1843684134" sldId="2147483879"/>
              <pc:sldLayoutMk cId="1279176577" sldId="2147483890"/>
              <ac:spMk id="2"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pc:sldLayoutMk cId="1279176577" sldId="2147483890"/>
              <ac:spMk id="3" creationId="{00000000-0000-0000-0000-000000000000}"/>
            </ac:spMkLst>
          </pc:spChg>
        </pc:sldLayoutChg>
        <pc:sldLayoutChg chg="modSp add del mod replId">
          <pc:chgData name="Hagino, Mayu [JANJP]" userId="S::mhagino3@its.jnj.com::90699482-6b3e-479f-aef9-5595debdc6d5" providerId="AD" clId="Web-{FB67261C-4E6E-8A4B-4B45-5F7682CAB992}" dt="2019-11-12T08:56:56.174" v="16"/>
          <pc:sldLayoutMkLst>
            <pc:docMk/>
            <pc:sldMasterMk cId="1843684134" sldId="2147483879"/>
            <pc:sldLayoutMk cId="3037664524" sldId="2147483891"/>
          </pc:sldLayoutMkLst>
          <pc:spChg chg="mod">
            <ac:chgData name="Hagino, Mayu [JANJP]" userId="S::mhagino3@its.jnj.com::90699482-6b3e-479f-aef9-5595debdc6d5" providerId="AD" clId="Web-{FB67261C-4E6E-8A4B-4B45-5F7682CAB992}" dt="2019-11-12T08:56:51.455" v="15"/>
            <ac:spMkLst>
              <pc:docMk/>
              <pc:sldMasterMk cId="1843684134" sldId="2147483879"/>
              <pc:sldLayoutMk cId="3037664524" sldId="2147483891"/>
              <ac:spMk id="11"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pc:sldLayoutMk cId="3037664524" sldId="2147483891"/>
              <ac:spMk id="12" creationId="{00000000-0000-0000-0000-000000000000}"/>
            </ac:spMkLst>
          </pc:spChg>
          <pc:spChg chg="mod">
            <ac:chgData name="Hagino, Mayu [JANJP]" userId="S::mhagino3@its.jnj.com::90699482-6b3e-479f-aef9-5595debdc6d5" providerId="AD" clId="Web-{FB67261C-4E6E-8A4B-4B45-5F7682CAB992}" dt="2019-11-12T08:56:51.455" v="15"/>
            <ac:spMkLst>
              <pc:docMk/>
              <pc:sldMasterMk cId="1843684134" sldId="2147483879"/>
              <pc:sldLayoutMk cId="3037664524" sldId="2147483891"/>
              <ac:spMk id="13" creationId="{00000000-0000-0000-0000-000000000000}"/>
            </ac:spMkLst>
          </pc:spChg>
          <pc:picChg chg="mod">
            <ac:chgData name="Hagino, Mayu [JANJP]" userId="S::mhagino3@its.jnj.com::90699482-6b3e-479f-aef9-5595debdc6d5" providerId="AD" clId="Web-{FB67261C-4E6E-8A4B-4B45-5F7682CAB992}" dt="2019-11-12T08:56:51.455" v="15"/>
            <ac:picMkLst>
              <pc:docMk/>
              <pc:sldMasterMk cId="1843684134" sldId="2147483879"/>
              <pc:sldLayoutMk cId="3037664524" sldId="2147483891"/>
              <ac:picMk id="9" creationId="{00000000-0000-0000-0000-000000000000}"/>
            </ac:picMkLst>
          </pc:picChg>
          <pc:picChg chg="mod">
            <ac:chgData name="Hagino, Mayu [JANJP]" userId="S::mhagino3@its.jnj.com::90699482-6b3e-479f-aef9-5595debdc6d5" providerId="AD" clId="Web-{FB67261C-4E6E-8A4B-4B45-5F7682CAB992}" dt="2019-11-12T08:56:51.455" v="15"/>
            <ac:picMkLst>
              <pc:docMk/>
              <pc:sldMasterMk cId="1843684134" sldId="2147483879"/>
              <pc:sldLayoutMk cId="3037664524" sldId="2147483891"/>
              <ac:picMk id="10" creationId="{4EFDA912-4A3A-4200-84F6-8D841CD04EF3}"/>
            </ac:picMkLst>
          </pc:picChg>
        </pc:sldLayoutChg>
      </pc:sldMasterChg>
      <pc:sldMasterChg chg="add del modTransition addSldLayout delSldLayout modSldLayout">
        <pc:chgData name="Hagino, Mayu [JANJP]" userId="S::mhagino3@its.jnj.com::90699482-6b3e-479f-aef9-5595debdc6d5" providerId="AD" clId="Web-{FB67261C-4E6E-8A4B-4B45-5F7682CAB992}" dt="2019-11-12T08:56:51.392" v="14"/>
        <pc:sldMasterMkLst>
          <pc:docMk/>
          <pc:sldMasterMk cId="3492171208" sldId="2147483892"/>
        </pc:sldMasterMkLst>
        <pc:sldLayoutChg chg="add del mod replId">
          <pc:chgData name="Hagino, Mayu [JANJP]" userId="S::mhagino3@its.jnj.com::90699482-6b3e-479f-aef9-5595debdc6d5" providerId="AD" clId="Web-{FB67261C-4E6E-8A4B-4B45-5F7682CAB992}" dt="2019-11-12T08:56:51.392" v="14"/>
          <pc:sldLayoutMkLst>
            <pc:docMk/>
            <pc:sldMasterMk cId="3492171208" sldId="2147483892"/>
            <pc:sldLayoutMk cId="2346414220" sldId="2147483893"/>
          </pc:sldLayoutMkLst>
        </pc:sldLayoutChg>
        <pc:sldLayoutChg chg="add del mod replId">
          <pc:chgData name="Hagino, Mayu [JANJP]" userId="S::mhagino3@its.jnj.com::90699482-6b3e-479f-aef9-5595debdc6d5" providerId="AD" clId="Web-{FB67261C-4E6E-8A4B-4B45-5F7682CAB992}" dt="2019-11-12T08:56:51.392" v="14"/>
          <pc:sldLayoutMkLst>
            <pc:docMk/>
            <pc:sldMasterMk cId="3492171208" sldId="2147483892"/>
            <pc:sldLayoutMk cId="3301156670" sldId="2147483894"/>
          </pc:sldLayoutMkLst>
        </pc:sldLayoutChg>
        <pc:sldLayoutChg chg="add del mod replId">
          <pc:chgData name="Hagino, Mayu [JANJP]" userId="S::mhagino3@its.jnj.com::90699482-6b3e-479f-aef9-5595debdc6d5" providerId="AD" clId="Web-{FB67261C-4E6E-8A4B-4B45-5F7682CAB992}" dt="2019-11-12T08:56:51.392" v="14"/>
          <pc:sldLayoutMkLst>
            <pc:docMk/>
            <pc:sldMasterMk cId="3492171208" sldId="2147483892"/>
            <pc:sldLayoutMk cId="3106376605" sldId="2147483895"/>
          </pc:sldLayoutMkLst>
        </pc:sldLayoutChg>
        <pc:sldLayoutChg chg="add del mod replId">
          <pc:chgData name="Hagino, Mayu [JANJP]" userId="S::mhagino3@its.jnj.com::90699482-6b3e-479f-aef9-5595debdc6d5" providerId="AD" clId="Web-{FB67261C-4E6E-8A4B-4B45-5F7682CAB992}" dt="2019-11-12T08:56:51.392" v="14"/>
          <pc:sldLayoutMkLst>
            <pc:docMk/>
            <pc:sldMasterMk cId="3492171208" sldId="2147483892"/>
            <pc:sldLayoutMk cId="305219896" sldId="2147483896"/>
          </pc:sldLayoutMkLst>
        </pc:sldLayoutChg>
        <pc:sldLayoutChg chg="add del mod replId">
          <pc:chgData name="Hagino, Mayu [JANJP]" userId="S::mhagino3@its.jnj.com::90699482-6b3e-479f-aef9-5595debdc6d5" providerId="AD" clId="Web-{FB67261C-4E6E-8A4B-4B45-5F7682CAB992}" dt="2019-11-12T08:56:51.392" v="14"/>
          <pc:sldLayoutMkLst>
            <pc:docMk/>
            <pc:sldMasterMk cId="3492171208" sldId="2147483892"/>
            <pc:sldLayoutMk cId="3632721520" sldId="2147483897"/>
          </pc:sldLayoutMkLst>
        </pc:sldLayoutChg>
        <pc:sldLayoutChg chg="add del mod replId">
          <pc:chgData name="Hagino, Mayu [JANJP]" userId="S::mhagino3@its.jnj.com::90699482-6b3e-479f-aef9-5595debdc6d5" providerId="AD" clId="Web-{FB67261C-4E6E-8A4B-4B45-5F7682CAB992}" dt="2019-11-12T08:56:51.392" v="14"/>
          <pc:sldLayoutMkLst>
            <pc:docMk/>
            <pc:sldMasterMk cId="3492171208" sldId="2147483892"/>
            <pc:sldLayoutMk cId="1465086546" sldId="2147483898"/>
          </pc:sldLayoutMkLst>
        </pc:sldLayoutChg>
        <pc:sldLayoutChg chg="add del mod replId">
          <pc:chgData name="Hagino, Mayu [JANJP]" userId="S::mhagino3@its.jnj.com::90699482-6b3e-479f-aef9-5595debdc6d5" providerId="AD" clId="Web-{FB67261C-4E6E-8A4B-4B45-5F7682CAB992}" dt="2019-11-12T08:56:51.392" v="14"/>
          <pc:sldLayoutMkLst>
            <pc:docMk/>
            <pc:sldMasterMk cId="3492171208" sldId="2147483892"/>
            <pc:sldLayoutMk cId="22854425" sldId="2147483899"/>
          </pc:sldLayoutMkLst>
        </pc:sldLayoutChg>
        <pc:sldLayoutChg chg="add del mod replId">
          <pc:chgData name="Hagino, Mayu [JANJP]" userId="S::mhagino3@its.jnj.com::90699482-6b3e-479f-aef9-5595debdc6d5" providerId="AD" clId="Web-{FB67261C-4E6E-8A4B-4B45-5F7682CAB992}" dt="2019-11-12T08:56:51.392" v="14"/>
          <pc:sldLayoutMkLst>
            <pc:docMk/>
            <pc:sldMasterMk cId="3492171208" sldId="2147483892"/>
            <pc:sldLayoutMk cId="4271293066" sldId="2147483900"/>
          </pc:sldLayoutMkLst>
        </pc:sldLayoutChg>
        <pc:sldLayoutChg chg="add del mod replId">
          <pc:chgData name="Hagino, Mayu [JANJP]" userId="S::mhagino3@its.jnj.com::90699482-6b3e-479f-aef9-5595debdc6d5" providerId="AD" clId="Web-{FB67261C-4E6E-8A4B-4B45-5F7682CAB992}" dt="2019-11-12T08:56:51.392" v="14"/>
          <pc:sldLayoutMkLst>
            <pc:docMk/>
            <pc:sldMasterMk cId="3492171208" sldId="2147483892"/>
            <pc:sldLayoutMk cId="2435343751" sldId="2147483901"/>
          </pc:sldLayoutMkLst>
        </pc:sldLayoutChg>
        <pc:sldLayoutChg chg="add del mod replId">
          <pc:chgData name="Hagino, Mayu [JANJP]" userId="S::mhagino3@its.jnj.com::90699482-6b3e-479f-aef9-5595debdc6d5" providerId="AD" clId="Web-{FB67261C-4E6E-8A4B-4B45-5F7682CAB992}" dt="2019-11-12T08:56:51.392" v="14"/>
          <pc:sldLayoutMkLst>
            <pc:docMk/>
            <pc:sldMasterMk cId="3492171208" sldId="2147483892"/>
            <pc:sldLayoutMk cId="1231894091" sldId="2147483902"/>
          </pc:sldLayoutMkLst>
        </pc:sldLayoutChg>
        <pc:sldLayoutChg chg="add del mod replId">
          <pc:chgData name="Hagino, Mayu [JANJP]" userId="S::mhagino3@its.jnj.com::90699482-6b3e-479f-aef9-5595debdc6d5" providerId="AD" clId="Web-{FB67261C-4E6E-8A4B-4B45-5F7682CAB992}" dt="2019-11-12T08:56:51.392" v="14"/>
          <pc:sldLayoutMkLst>
            <pc:docMk/>
            <pc:sldMasterMk cId="3492171208" sldId="2147483892"/>
            <pc:sldLayoutMk cId="646418130" sldId="2147483903"/>
          </pc:sldLayoutMkLst>
        </pc:sldLayoutChg>
        <pc:sldLayoutChg chg="add del mod replId">
          <pc:chgData name="Hagino, Mayu [JANJP]" userId="S::mhagino3@its.jnj.com::90699482-6b3e-479f-aef9-5595debdc6d5" providerId="AD" clId="Web-{FB67261C-4E6E-8A4B-4B45-5F7682CAB992}" dt="2019-11-12T08:56:51.392" v="14"/>
          <pc:sldLayoutMkLst>
            <pc:docMk/>
            <pc:sldMasterMk cId="3492171208" sldId="2147483892"/>
            <pc:sldLayoutMk cId="1409537211" sldId="2147483904"/>
          </pc:sldLayoutMkLst>
        </pc:sldLayoutChg>
      </pc:sldMasterChg>
    </pc:docChg>
  </pc:docChgLst>
  <pc:docChgLst>
    <pc:chgData name="Hagino, Mayu [JANJP]" userId="S::mhagino3@its.jnj.com::90699482-6b3e-479f-aef9-5595debdc6d5" providerId="AD" clId="Web-{F44FE3C1-A7DA-9367-B49D-9D736C5193B6}"/>
    <pc:docChg chg="mod modSld addMainMaster delMainMaster modMainMaster setSldSz">
      <pc:chgData name="Hagino, Mayu [JANJP]" userId="S::mhagino3@its.jnj.com::90699482-6b3e-479f-aef9-5595debdc6d5" providerId="AD" clId="Web-{F44FE3C1-A7DA-9367-B49D-9D736C5193B6}" dt="2019-11-12T08:50:05.913" v="1"/>
      <pc:docMkLst>
        <pc:docMk/>
      </pc:docMkLst>
      <pc:sldChg chg="modSp mod modClrScheme chgLayout">
        <pc:chgData name="Hagino, Mayu [JANJP]" userId="S::mhagino3@its.jnj.com::90699482-6b3e-479f-aef9-5595debdc6d5" providerId="AD" clId="Web-{F44FE3C1-A7DA-9367-B49D-9D736C5193B6}" dt="2019-11-12T08:50:05.913" v="1"/>
        <pc:sldMkLst>
          <pc:docMk/>
          <pc:sldMk cId="2412272154" sldId="473"/>
        </pc:sldMkLst>
        <pc:spChg chg="mod ord">
          <ac:chgData name="Hagino, Mayu [JANJP]" userId="S::mhagino3@its.jnj.com::90699482-6b3e-479f-aef9-5595debdc6d5" providerId="AD" clId="Web-{F44FE3C1-A7DA-9367-B49D-9D736C5193B6}" dt="2019-11-12T08:50:05.913" v="1"/>
          <ac:spMkLst>
            <pc:docMk/>
            <pc:sldMk cId="2412272154" sldId="473"/>
            <ac:spMk id="2" creationId="{F2106816-2A10-4893-8DFA-02C0D5C9BF01}"/>
          </ac:spMkLst>
        </pc:spChg>
        <pc:spChg chg="mod ord">
          <ac:chgData name="Hagino, Mayu [JANJP]" userId="S::mhagino3@its.jnj.com::90699482-6b3e-479f-aef9-5595debdc6d5" providerId="AD" clId="Web-{F44FE3C1-A7DA-9367-B49D-9D736C5193B6}" dt="2019-11-12T08:50:05.913" v="1"/>
          <ac:spMkLst>
            <pc:docMk/>
            <pc:sldMk cId="2412272154" sldId="473"/>
            <ac:spMk id="3" creationId="{D898DE33-C5EF-478B-98A1-C3F8DDC7E299}"/>
          </ac:spMkLst>
        </pc:spChg>
        <pc:spChg chg="mod ord">
          <ac:chgData name="Hagino, Mayu [JANJP]" userId="S::mhagino3@its.jnj.com::90699482-6b3e-479f-aef9-5595debdc6d5" providerId="AD" clId="Web-{F44FE3C1-A7DA-9367-B49D-9D736C5193B6}" dt="2019-11-12T08:50:05.913" v="1"/>
          <ac:spMkLst>
            <pc:docMk/>
            <pc:sldMk cId="2412272154" sldId="473"/>
            <ac:spMk id="4" creationId="{79479708-80CF-4BF0-8C57-4F2E32027F28}"/>
          </ac:spMkLst>
        </pc:spChg>
        <pc:picChg chg="mod">
          <ac:chgData name="Hagino, Mayu [JANJP]" userId="S::mhagino3@its.jnj.com::90699482-6b3e-479f-aef9-5595debdc6d5" providerId="AD" clId="Web-{F44FE3C1-A7DA-9367-B49D-9D736C5193B6}" dt="2019-11-12T08:50:05.835" v="0"/>
          <ac:picMkLst>
            <pc:docMk/>
            <pc:sldMk cId="2412272154" sldId="473"/>
            <ac:picMk id="5" creationId="{42B0CF0B-95C3-4594-8EA6-F0D43FB54464}"/>
          </ac:picMkLst>
        </pc:picChg>
      </pc:sldChg>
      <pc:sldChg chg="modSp mod modClrScheme chgLayout">
        <pc:chgData name="Hagino, Mayu [JANJP]" userId="S::mhagino3@its.jnj.com::90699482-6b3e-479f-aef9-5595debdc6d5" providerId="AD" clId="Web-{F44FE3C1-A7DA-9367-B49D-9D736C5193B6}" dt="2019-11-12T08:50:05.913" v="1"/>
        <pc:sldMkLst>
          <pc:docMk/>
          <pc:sldMk cId="1465686527" sldId="1395"/>
        </pc:sldMkLst>
        <pc:spChg chg="mod ord">
          <ac:chgData name="Hagino, Mayu [JANJP]" userId="S::mhagino3@its.jnj.com::90699482-6b3e-479f-aef9-5595debdc6d5" providerId="AD" clId="Web-{F44FE3C1-A7DA-9367-B49D-9D736C5193B6}" dt="2019-11-12T08:50:05.913" v="1"/>
          <ac:spMkLst>
            <pc:docMk/>
            <pc:sldMk cId="1465686527" sldId="1395"/>
            <ac:spMk id="2" creationId="{77AB3BD7-7CA0-4A53-A8A6-522C56444758}"/>
          </ac:spMkLst>
        </pc:spChg>
        <pc:spChg chg="mod">
          <ac:chgData name="Hagino, Mayu [JANJP]" userId="S::mhagino3@its.jnj.com::90699482-6b3e-479f-aef9-5595debdc6d5" providerId="AD" clId="Web-{F44FE3C1-A7DA-9367-B49D-9D736C5193B6}" dt="2019-11-12T08:50:05.835" v="0"/>
          <ac:spMkLst>
            <pc:docMk/>
            <pc:sldMk cId="1465686527" sldId="1395"/>
            <ac:spMk id="4" creationId="{01DF8CF6-7F7A-43D8-B75C-2B579B5D35AD}"/>
          </ac:spMkLst>
        </pc:spChg>
        <pc:spChg chg="mod">
          <ac:chgData name="Hagino, Mayu [JANJP]" userId="S::mhagino3@its.jnj.com::90699482-6b3e-479f-aef9-5595debdc6d5" providerId="AD" clId="Web-{F44FE3C1-A7DA-9367-B49D-9D736C5193B6}" dt="2019-11-12T08:50:05.835" v="0"/>
          <ac:spMkLst>
            <pc:docMk/>
            <pc:sldMk cId="1465686527" sldId="1395"/>
            <ac:spMk id="6" creationId="{AFB7B305-71E1-4589-A12E-AE0C306161F8}"/>
          </ac:spMkLst>
        </pc:spChg>
      </pc:sldChg>
      <pc:sldChg chg="modSp mod modClrScheme chgLayout">
        <pc:chgData name="Hagino, Mayu [JANJP]" userId="S::mhagino3@its.jnj.com::90699482-6b3e-479f-aef9-5595debdc6d5" providerId="AD" clId="Web-{F44FE3C1-A7DA-9367-B49D-9D736C5193B6}" dt="2019-11-12T08:50:05.913" v="1"/>
        <pc:sldMkLst>
          <pc:docMk/>
          <pc:sldMk cId="4194028848" sldId="1396"/>
        </pc:sldMkLst>
        <pc:spChg chg="mod ord">
          <ac:chgData name="Hagino, Mayu [JANJP]" userId="S::mhagino3@its.jnj.com::90699482-6b3e-479f-aef9-5595debdc6d5" providerId="AD" clId="Web-{F44FE3C1-A7DA-9367-B49D-9D736C5193B6}" dt="2019-11-12T08:50:05.913" v="1"/>
          <ac:spMkLst>
            <pc:docMk/>
            <pc:sldMk cId="4194028848" sldId="1396"/>
            <ac:spMk id="2" creationId="{77AB3BD7-7CA0-4A53-A8A6-522C56444758}"/>
          </ac:spMkLst>
        </pc:spChg>
        <pc:graphicFrameChg chg="mod modGraphic">
          <ac:chgData name="Hagino, Mayu [JANJP]" userId="S::mhagino3@its.jnj.com::90699482-6b3e-479f-aef9-5595debdc6d5" providerId="AD" clId="Web-{F44FE3C1-A7DA-9367-B49D-9D736C5193B6}" dt="2019-11-12T08:50:05.835" v="0"/>
          <ac:graphicFrameMkLst>
            <pc:docMk/>
            <pc:sldMk cId="4194028848" sldId="1396"/>
            <ac:graphicFrameMk id="3" creationId="{EA859ACE-96FC-4EEF-BBB2-A67D40CDF277}"/>
          </ac:graphicFrameMkLst>
        </pc:graphicFrameChg>
        <pc:picChg chg="mod">
          <ac:chgData name="Hagino, Mayu [JANJP]" userId="S::mhagino3@its.jnj.com::90699482-6b3e-479f-aef9-5595debdc6d5" providerId="AD" clId="Web-{F44FE3C1-A7DA-9367-B49D-9D736C5193B6}" dt="2019-11-12T08:50:05.835" v="0"/>
          <ac:picMkLst>
            <pc:docMk/>
            <pc:sldMk cId="4194028848" sldId="1396"/>
            <ac:picMk id="4" creationId="{20F97DC5-F60F-4600-A20E-0FA256B33AFE}"/>
          </ac:picMkLst>
        </pc:picChg>
        <pc:picChg chg="mod">
          <ac:chgData name="Hagino, Mayu [JANJP]" userId="S::mhagino3@its.jnj.com::90699482-6b3e-479f-aef9-5595debdc6d5" providerId="AD" clId="Web-{F44FE3C1-A7DA-9367-B49D-9D736C5193B6}" dt="2019-11-12T08:50:05.835" v="0"/>
          <ac:picMkLst>
            <pc:docMk/>
            <pc:sldMk cId="4194028848" sldId="1396"/>
            <ac:picMk id="6" creationId="{E13F26B5-5783-4E65-8079-81D033DD8F13}"/>
          </ac:picMkLst>
        </pc:picChg>
        <pc:picChg chg="mod">
          <ac:chgData name="Hagino, Mayu [JANJP]" userId="S::mhagino3@its.jnj.com::90699482-6b3e-479f-aef9-5595debdc6d5" providerId="AD" clId="Web-{F44FE3C1-A7DA-9367-B49D-9D736C5193B6}" dt="2019-11-12T08:50:05.835" v="0"/>
          <ac:picMkLst>
            <pc:docMk/>
            <pc:sldMk cId="4194028848" sldId="1396"/>
            <ac:picMk id="7" creationId="{CA0560CE-BE67-4D7D-9574-3EE1644CB8D9}"/>
          </ac:picMkLst>
        </pc:picChg>
      </pc:sldChg>
      <pc:sldChg chg="modSp mod modClrScheme chgLayout">
        <pc:chgData name="Hagino, Mayu [JANJP]" userId="S::mhagino3@its.jnj.com::90699482-6b3e-479f-aef9-5595debdc6d5" providerId="AD" clId="Web-{F44FE3C1-A7DA-9367-B49D-9D736C5193B6}" dt="2019-11-12T08:50:05.913" v="1"/>
        <pc:sldMkLst>
          <pc:docMk/>
          <pc:sldMk cId="2697792268" sldId="1399"/>
        </pc:sldMkLst>
        <pc:spChg chg="mod ord">
          <ac:chgData name="Hagino, Mayu [JANJP]" userId="S::mhagino3@its.jnj.com::90699482-6b3e-479f-aef9-5595debdc6d5" providerId="AD" clId="Web-{F44FE3C1-A7DA-9367-B49D-9D736C5193B6}" dt="2019-11-12T08:50:05.913" v="1"/>
          <ac:spMkLst>
            <pc:docMk/>
            <pc:sldMk cId="2697792268" sldId="1399"/>
            <ac:spMk id="2" creationId="{77AB3BD7-7CA0-4A53-A8A6-522C56444758}"/>
          </ac:spMkLst>
        </pc:spChg>
        <pc:graphicFrameChg chg="mod modGraphic">
          <ac:chgData name="Hagino, Mayu [JANJP]" userId="S::mhagino3@its.jnj.com::90699482-6b3e-479f-aef9-5595debdc6d5" providerId="AD" clId="Web-{F44FE3C1-A7DA-9367-B49D-9D736C5193B6}" dt="2019-11-12T08:50:05.835" v="0"/>
          <ac:graphicFrameMkLst>
            <pc:docMk/>
            <pc:sldMk cId="2697792268" sldId="1399"/>
            <ac:graphicFrameMk id="7" creationId="{4E9111F2-7E82-4B57-B5CB-1D1F787E04E5}"/>
          </ac:graphicFrameMkLst>
        </pc:graphicFrameChg>
      </pc:sldChg>
      <pc:sldChg chg="modSp mod modClrScheme chgLayout">
        <pc:chgData name="Hagino, Mayu [JANJP]" userId="S::mhagino3@its.jnj.com::90699482-6b3e-479f-aef9-5595debdc6d5" providerId="AD" clId="Web-{F44FE3C1-A7DA-9367-B49D-9D736C5193B6}" dt="2019-11-12T08:50:05.913" v="1"/>
        <pc:sldMkLst>
          <pc:docMk/>
          <pc:sldMk cId="853611579" sldId="1400"/>
        </pc:sldMkLst>
        <pc:spChg chg="mod ord">
          <ac:chgData name="Hagino, Mayu [JANJP]" userId="S::mhagino3@its.jnj.com::90699482-6b3e-479f-aef9-5595debdc6d5" providerId="AD" clId="Web-{F44FE3C1-A7DA-9367-B49D-9D736C5193B6}" dt="2019-11-12T08:50:05.913" v="1"/>
          <ac:spMkLst>
            <pc:docMk/>
            <pc:sldMk cId="853611579" sldId="1400"/>
            <ac:spMk id="2" creationId="{77AB3BD7-7CA0-4A53-A8A6-522C56444758}"/>
          </ac:spMkLst>
        </pc:spChg>
        <pc:graphicFrameChg chg="mod modGraphic">
          <ac:chgData name="Hagino, Mayu [JANJP]" userId="S::mhagino3@its.jnj.com::90699482-6b3e-479f-aef9-5595debdc6d5" providerId="AD" clId="Web-{F44FE3C1-A7DA-9367-B49D-9D736C5193B6}" dt="2019-11-12T08:50:05.835" v="0"/>
          <ac:graphicFrameMkLst>
            <pc:docMk/>
            <pc:sldMk cId="853611579" sldId="1400"/>
            <ac:graphicFrameMk id="4" creationId="{8F9F765C-4D15-4C0E-8906-C69ABF806607}"/>
          </ac:graphicFrameMkLst>
        </pc:graphicFrameChg>
      </pc:sldChg>
      <pc:sldChg chg="modSp mod modClrScheme chgLayout">
        <pc:chgData name="Hagino, Mayu [JANJP]" userId="S::mhagino3@its.jnj.com::90699482-6b3e-479f-aef9-5595debdc6d5" providerId="AD" clId="Web-{F44FE3C1-A7DA-9367-B49D-9D736C5193B6}" dt="2019-11-12T08:50:05.913" v="1"/>
        <pc:sldMkLst>
          <pc:docMk/>
          <pc:sldMk cId="3222145552" sldId="1401"/>
        </pc:sldMkLst>
        <pc:spChg chg="mod ord">
          <ac:chgData name="Hagino, Mayu [JANJP]" userId="S::mhagino3@its.jnj.com::90699482-6b3e-479f-aef9-5595debdc6d5" providerId="AD" clId="Web-{F44FE3C1-A7DA-9367-B49D-9D736C5193B6}" dt="2019-11-12T08:50:05.913" v="1"/>
          <ac:spMkLst>
            <pc:docMk/>
            <pc:sldMk cId="3222145552" sldId="1401"/>
            <ac:spMk id="2" creationId="{77AB3BD7-7CA0-4A53-A8A6-522C56444758}"/>
          </ac:spMkLst>
        </pc:spChg>
        <pc:spChg chg="mod">
          <ac:chgData name="Hagino, Mayu [JANJP]" userId="S::mhagino3@its.jnj.com::90699482-6b3e-479f-aef9-5595debdc6d5" providerId="AD" clId="Web-{F44FE3C1-A7DA-9367-B49D-9D736C5193B6}" dt="2019-11-12T08:50:05.835" v="0"/>
          <ac:spMkLst>
            <pc:docMk/>
            <pc:sldMk cId="3222145552" sldId="1401"/>
            <ac:spMk id="3" creationId="{FC170E9A-60B9-40A9-9C90-D1541A277802}"/>
          </ac:spMkLst>
        </pc:spChg>
        <pc:spChg chg="mod">
          <ac:chgData name="Hagino, Mayu [JANJP]" userId="S::mhagino3@its.jnj.com::90699482-6b3e-479f-aef9-5595debdc6d5" providerId="AD" clId="Web-{F44FE3C1-A7DA-9367-B49D-9D736C5193B6}" dt="2019-11-12T08:50:05.835" v="0"/>
          <ac:spMkLst>
            <pc:docMk/>
            <pc:sldMk cId="3222145552" sldId="1401"/>
            <ac:spMk id="4" creationId="{4DA24A89-F705-44A2-B6A3-2722A2721C58}"/>
          </ac:spMkLst>
        </pc:spChg>
        <pc:spChg chg="mod">
          <ac:chgData name="Hagino, Mayu [JANJP]" userId="S::mhagino3@its.jnj.com::90699482-6b3e-479f-aef9-5595debdc6d5" providerId="AD" clId="Web-{F44FE3C1-A7DA-9367-B49D-9D736C5193B6}" dt="2019-11-12T08:50:05.835" v="0"/>
          <ac:spMkLst>
            <pc:docMk/>
            <pc:sldMk cId="3222145552" sldId="1401"/>
            <ac:spMk id="6" creationId="{66EA656A-E171-4802-B5C4-1726BC021834}"/>
          </ac:spMkLst>
        </pc:spChg>
        <pc:spChg chg="mod">
          <ac:chgData name="Hagino, Mayu [JANJP]" userId="S::mhagino3@its.jnj.com::90699482-6b3e-479f-aef9-5595debdc6d5" providerId="AD" clId="Web-{F44FE3C1-A7DA-9367-B49D-9D736C5193B6}" dt="2019-11-12T08:50:05.835" v="0"/>
          <ac:spMkLst>
            <pc:docMk/>
            <pc:sldMk cId="3222145552" sldId="1401"/>
            <ac:spMk id="8" creationId="{EAD0EDAE-B4C1-43B4-BB88-27D6D9AB1A4A}"/>
          </ac:spMkLst>
        </pc:spChg>
      </pc:sldChg>
      <pc:sldChg chg="modSp mod modClrScheme chgLayout">
        <pc:chgData name="Hagino, Mayu [JANJP]" userId="S::mhagino3@its.jnj.com::90699482-6b3e-479f-aef9-5595debdc6d5" providerId="AD" clId="Web-{F44FE3C1-A7DA-9367-B49D-9D736C5193B6}" dt="2019-11-12T08:50:05.913" v="1"/>
        <pc:sldMkLst>
          <pc:docMk/>
          <pc:sldMk cId="1063953637" sldId="1406"/>
        </pc:sldMkLst>
        <pc:spChg chg="mod ord">
          <ac:chgData name="Hagino, Mayu [JANJP]" userId="S::mhagino3@its.jnj.com::90699482-6b3e-479f-aef9-5595debdc6d5" providerId="AD" clId="Web-{F44FE3C1-A7DA-9367-B49D-9D736C5193B6}" dt="2019-11-12T08:50:05.913" v="1"/>
          <ac:spMkLst>
            <pc:docMk/>
            <pc:sldMk cId="1063953637" sldId="1406"/>
            <ac:spMk id="2" creationId="{77AB3BD7-7CA0-4A53-A8A6-522C56444758}"/>
          </ac:spMkLst>
        </pc:spChg>
        <pc:spChg chg="mod">
          <ac:chgData name="Hagino, Mayu [JANJP]" userId="S::mhagino3@its.jnj.com::90699482-6b3e-479f-aef9-5595debdc6d5" providerId="AD" clId="Web-{F44FE3C1-A7DA-9367-B49D-9D736C5193B6}" dt="2019-11-12T08:50:05.835" v="0"/>
          <ac:spMkLst>
            <pc:docMk/>
            <pc:sldMk cId="1063953637" sldId="1406"/>
            <ac:spMk id="3" creationId="{62B7079C-711C-40B8-92DF-4FB9D68799D1}"/>
          </ac:spMkLst>
        </pc:spChg>
        <pc:spChg chg="mod">
          <ac:chgData name="Hagino, Mayu [JANJP]" userId="S::mhagino3@its.jnj.com::90699482-6b3e-479f-aef9-5595debdc6d5" providerId="AD" clId="Web-{F44FE3C1-A7DA-9367-B49D-9D736C5193B6}" dt="2019-11-12T08:50:05.835" v="0"/>
          <ac:spMkLst>
            <pc:docMk/>
            <pc:sldMk cId="1063953637" sldId="1406"/>
            <ac:spMk id="6" creationId="{F848A74F-E223-464D-9E9D-AE17BA3BFEAD}"/>
          </ac:spMkLst>
        </pc:spChg>
        <pc:spChg chg="mod">
          <ac:chgData name="Hagino, Mayu [JANJP]" userId="S::mhagino3@its.jnj.com::90699482-6b3e-479f-aef9-5595debdc6d5" providerId="AD" clId="Web-{F44FE3C1-A7DA-9367-B49D-9D736C5193B6}" dt="2019-11-12T08:50:05.835" v="0"/>
          <ac:spMkLst>
            <pc:docMk/>
            <pc:sldMk cId="1063953637" sldId="1406"/>
            <ac:spMk id="12" creationId="{C5941CC7-E794-4400-902F-D5D01DC16CB2}"/>
          </ac:spMkLst>
        </pc:spChg>
        <pc:spChg chg="mod">
          <ac:chgData name="Hagino, Mayu [JANJP]" userId="S::mhagino3@its.jnj.com::90699482-6b3e-479f-aef9-5595debdc6d5" providerId="AD" clId="Web-{F44FE3C1-A7DA-9367-B49D-9D736C5193B6}" dt="2019-11-12T08:50:05.835" v="0"/>
          <ac:spMkLst>
            <pc:docMk/>
            <pc:sldMk cId="1063953637" sldId="1406"/>
            <ac:spMk id="19" creationId="{0365953F-0936-4F75-B504-1252B453FD54}"/>
          </ac:spMkLst>
        </pc:spChg>
        <pc:spChg chg="mod">
          <ac:chgData name="Hagino, Mayu [JANJP]" userId="S::mhagino3@its.jnj.com::90699482-6b3e-479f-aef9-5595debdc6d5" providerId="AD" clId="Web-{F44FE3C1-A7DA-9367-B49D-9D736C5193B6}" dt="2019-11-12T08:50:05.835" v="0"/>
          <ac:spMkLst>
            <pc:docMk/>
            <pc:sldMk cId="1063953637" sldId="1406"/>
            <ac:spMk id="20" creationId="{75833AE8-BAEB-42D6-9F0C-93980B6A4166}"/>
          </ac:spMkLst>
        </pc:spChg>
        <pc:spChg chg="mod">
          <ac:chgData name="Hagino, Mayu [JANJP]" userId="S::mhagino3@its.jnj.com::90699482-6b3e-479f-aef9-5595debdc6d5" providerId="AD" clId="Web-{F44FE3C1-A7DA-9367-B49D-9D736C5193B6}" dt="2019-11-12T08:50:05.835" v="0"/>
          <ac:spMkLst>
            <pc:docMk/>
            <pc:sldMk cId="1063953637" sldId="1406"/>
            <ac:spMk id="25" creationId="{ED3D3864-C843-450E-AEEF-C6658F0D6387}"/>
          </ac:spMkLst>
        </pc:spChg>
        <pc:spChg chg="mod">
          <ac:chgData name="Hagino, Mayu [JANJP]" userId="S::mhagino3@its.jnj.com::90699482-6b3e-479f-aef9-5595debdc6d5" providerId="AD" clId="Web-{F44FE3C1-A7DA-9367-B49D-9D736C5193B6}" dt="2019-11-12T08:50:05.835" v="0"/>
          <ac:spMkLst>
            <pc:docMk/>
            <pc:sldMk cId="1063953637" sldId="1406"/>
            <ac:spMk id="26" creationId="{9491BF45-CC73-4843-8210-34EBB6575750}"/>
          </ac:spMkLst>
        </pc:spChg>
        <pc:spChg chg="mod">
          <ac:chgData name="Hagino, Mayu [JANJP]" userId="S::mhagino3@its.jnj.com::90699482-6b3e-479f-aef9-5595debdc6d5" providerId="AD" clId="Web-{F44FE3C1-A7DA-9367-B49D-9D736C5193B6}" dt="2019-11-12T08:50:05.835" v="0"/>
          <ac:spMkLst>
            <pc:docMk/>
            <pc:sldMk cId="1063953637" sldId="1406"/>
            <ac:spMk id="27" creationId="{CB86523D-2718-4979-AEC8-9199CDDE5235}"/>
          </ac:spMkLst>
        </pc:spChg>
        <pc:spChg chg="mod">
          <ac:chgData name="Hagino, Mayu [JANJP]" userId="S::mhagino3@its.jnj.com::90699482-6b3e-479f-aef9-5595debdc6d5" providerId="AD" clId="Web-{F44FE3C1-A7DA-9367-B49D-9D736C5193B6}" dt="2019-11-12T08:50:05.835" v="0"/>
          <ac:spMkLst>
            <pc:docMk/>
            <pc:sldMk cId="1063953637" sldId="1406"/>
            <ac:spMk id="37" creationId="{AA5A552E-4378-489A-B5DF-B85BA00C12E4}"/>
          </ac:spMkLst>
        </pc:spChg>
        <pc:spChg chg="mod">
          <ac:chgData name="Hagino, Mayu [JANJP]" userId="S::mhagino3@its.jnj.com::90699482-6b3e-479f-aef9-5595debdc6d5" providerId="AD" clId="Web-{F44FE3C1-A7DA-9367-B49D-9D736C5193B6}" dt="2019-11-12T08:50:05.835" v="0"/>
          <ac:spMkLst>
            <pc:docMk/>
            <pc:sldMk cId="1063953637" sldId="1406"/>
            <ac:spMk id="47" creationId="{05CB87BB-73D5-465E-888D-36C5856D9B41}"/>
          </ac:spMkLst>
        </pc:spChg>
        <pc:grpChg chg="mod">
          <ac:chgData name="Hagino, Mayu [JANJP]" userId="S::mhagino3@its.jnj.com::90699482-6b3e-479f-aef9-5595debdc6d5" providerId="AD" clId="Web-{F44FE3C1-A7DA-9367-B49D-9D736C5193B6}" dt="2019-11-12T08:50:05.835" v="0"/>
          <ac:grpSpMkLst>
            <pc:docMk/>
            <pc:sldMk cId="1063953637" sldId="1406"/>
            <ac:grpSpMk id="46" creationId="{C088B461-3043-4053-8E31-B1D69AF6F9C5}"/>
          </ac:grpSpMkLst>
        </pc:grpChg>
        <pc:graphicFrameChg chg="mod modGraphic">
          <ac:chgData name="Hagino, Mayu [JANJP]" userId="S::mhagino3@its.jnj.com::90699482-6b3e-479f-aef9-5595debdc6d5" providerId="AD" clId="Web-{F44FE3C1-A7DA-9367-B49D-9D736C5193B6}" dt="2019-11-12T08:50:05.835" v="0"/>
          <ac:graphicFrameMkLst>
            <pc:docMk/>
            <pc:sldMk cId="1063953637" sldId="1406"/>
            <ac:graphicFrameMk id="40" creationId="{7076BFDE-9676-44DA-A7D4-341A56430FD6}"/>
          </ac:graphicFrameMkLst>
        </pc:graphicFrameChg>
      </pc:sldChg>
      <pc:sldChg chg="modSp mod modClrScheme chgLayout">
        <pc:chgData name="Hagino, Mayu [JANJP]" userId="S::mhagino3@its.jnj.com::90699482-6b3e-479f-aef9-5595debdc6d5" providerId="AD" clId="Web-{F44FE3C1-A7DA-9367-B49D-9D736C5193B6}" dt="2019-11-12T08:50:05.913" v="1"/>
        <pc:sldMkLst>
          <pc:docMk/>
          <pc:sldMk cId="314453031" sldId="1408"/>
        </pc:sldMkLst>
        <pc:spChg chg="mod ord">
          <ac:chgData name="Hagino, Mayu [JANJP]" userId="S::mhagino3@its.jnj.com::90699482-6b3e-479f-aef9-5595debdc6d5" providerId="AD" clId="Web-{F44FE3C1-A7DA-9367-B49D-9D736C5193B6}" dt="2019-11-12T08:50:05.913" v="1"/>
          <ac:spMkLst>
            <pc:docMk/>
            <pc:sldMk cId="314453031" sldId="1408"/>
            <ac:spMk id="2" creationId="{77AB3BD7-7CA0-4A53-A8A6-522C56444758}"/>
          </ac:spMkLst>
        </pc:spChg>
        <pc:picChg chg="mod">
          <ac:chgData name="Hagino, Mayu [JANJP]" userId="S::mhagino3@its.jnj.com::90699482-6b3e-479f-aef9-5595debdc6d5" providerId="AD" clId="Web-{F44FE3C1-A7DA-9367-B49D-9D736C5193B6}" dt="2019-11-12T08:50:05.835" v="0"/>
          <ac:picMkLst>
            <pc:docMk/>
            <pc:sldMk cId="314453031" sldId="1408"/>
            <ac:picMk id="6" creationId="{F580856C-81E6-4366-819D-11510F5A8EB4}"/>
          </ac:picMkLst>
        </pc:picChg>
      </pc:sldChg>
      <pc:sldChg chg="modSp mod modClrScheme chgLayout">
        <pc:chgData name="Hagino, Mayu [JANJP]" userId="S::mhagino3@its.jnj.com::90699482-6b3e-479f-aef9-5595debdc6d5" providerId="AD" clId="Web-{F44FE3C1-A7DA-9367-B49D-9D736C5193B6}" dt="2019-11-12T08:50:05.913" v="1"/>
        <pc:sldMkLst>
          <pc:docMk/>
          <pc:sldMk cId="1856552062" sldId="1410"/>
        </pc:sldMkLst>
        <pc:spChg chg="mod ord">
          <ac:chgData name="Hagino, Mayu [JANJP]" userId="S::mhagino3@its.jnj.com::90699482-6b3e-479f-aef9-5595debdc6d5" providerId="AD" clId="Web-{F44FE3C1-A7DA-9367-B49D-9D736C5193B6}" dt="2019-11-12T08:50:05.913" v="1"/>
          <ac:spMkLst>
            <pc:docMk/>
            <pc:sldMk cId="1856552062" sldId="1410"/>
            <ac:spMk id="2" creationId="{77AB3BD7-7CA0-4A53-A8A6-522C56444758}"/>
          </ac:spMkLst>
        </pc:spChg>
        <pc:spChg chg="mod">
          <ac:chgData name="Hagino, Mayu [JANJP]" userId="S::mhagino3@its.jnj.com::90699482-6b3e-479f-aef9-5595debdc6d5" providerId="AD" clId="Web-{F44FE3C1-A7DA-9367-B49D-9D736C5193B6}" dt="2019-11-12T08:50:05.835" v="0"/>
          <ac:spMkLst>
            <pc:docMk/>
            <pc:sldMk cId="1856552062" sldId="1410"/>
            <ac:spMk id="4" creationId="{4DA24A89-F705-44A2-B6A3-2722A2721C58}"/>
          </ac:spMkLst>
        </pc:spChg>
        <pc:spChg chg="mod">
          <ac:chgData name="Hagino, Mayu [JANJP]" userId="S::mhagino3@its.jnj.com::90699482-6b3e-479f-aef9-5595debdc6d5" providerId="AD" clId="Web-{F44FE3C1-A7DA-9367-B49D-9D736C5193B6}" dt="2019-11-12T08:50:05.835" v="0"/>
          <ac:spMkLst>
            <pc:docMk/>
            <pc:sldMk cId="1856552062" sldId="1410"/>
            <ac:spMk id="5" creationId="{F9C656CF-FC69-4329-BF80-CCEB60791DCE}"/>
          </ac:spMkLst>
        </pc:spChg>
      </pc:sldChg>
      <pc:sldChg chg="modSp mod modClrScheme chgLayout">
        <pc:chgData name="Hagino, Mayu [JANJP]" userId="S::mhagino3@its.jnj.com::90699482-6b3e-479f-aef9-5595debdc6d5" providerId="AD" clId="Web-{F44FE3C1-A7DA-9367-B49D-9D736C5193B6}" dt="2019-11-12T08:50:05.913" v="1"/>
        <pc:sldMkLst>
          <pc:docMk/>
          <pc:sldMk cId="2011662251" sldId="1411"/>
        </pc:sldMkLst>
        <pc:spChg chg="mod ord">
          <ac:chgData name="Hagino, Mayu [JANJP]" userId="S::mhagino3@its.jnj.com::90699482-6b3e-479f-aef9-5595debdc6d5" providerId="AD" clId="Web-{F44FE3C1-A7DA-9367-B49D-9D736C5193B6}" dt="2019-11-12T08:50:05.913" v="1"/>
          <ac:spMkLst>
            <pc:docMk/>
            <pc:sldMk cId="2011662251" sldId="1411"/>
            <ac:spMk id="2" creationId="{77AB3BD7-7CA0-4A53-A8A6-522C56444758}"/>
          </ac:spMkLst>
        </pc:spChg>
        <pc:spChg chg="mod">
          <ac:chgData name="Hagino, Mayu [JANJP]" userId="S::mhagino3@its.jnj.com::90699482-6b3e-479f-aef9-5595debdc6d5" providerId="AD" clId="Web-{F44FE3C1-A7DA-9367-B49D-9D736C5193B6}" dt="2019-11-12T08:50:05.835" v="0"/>
          <ac:spMkLst>
            <pc:docMk/>
            <pc:sldMk cId="2011662251" sldId="1411"/>
            <ac:spMk id="4" creationId="{4DA24A89-F705-44A2-B6A3-2722A2721C58}"/>
          </ac:spMkLst>
        </pc:spChg>
        <pc:spChg chg="mod">
          <ac:chgData name="Hagino, Mayu [JANJP]" userId="S::mhagino3@its.jnj.com::90699482-6b3e-479f-aef9-5595debdc6d5" providerId="AD" clId="Web-{F44FE3C1-A7DA-9367-B49D-9D736C5193B6}" dt="2019-11-12T08:50:05.835" v="0"/>
          <ac:spMkLst>
            <pc:docMk/>
            <pc:sldMk cId="2011662251" sldId="1411"/>
            <ac:spMk id="5" creationId="{FA5A9DD9-E044-4986-B90A-43592D933EAF}"/>
          </ac:spMkLst>
        </pc:spChg>
      </pc:sldChg>
      <pc:sldMasterChg chg="modSp modSldLayout">
        <pc:chgData name="Hagino, Mayu [JANJP]" userId="S::mhagino3@its.jnj.com::90699482-6b3e-479f-aef9-5595debdc6d5" providerId="AD" clId="Web-{F44FE3C1-A7DA-9367-B49D-9D736C5193B6}" dt="2019-11-12T08:50:05.835" v="0"/>
        <pc:sldMasterMkLst>
          <pc:docMk/>
          <pc:sldMasterMk cId="2373018287" sldId="2147483761"/>
        </pc:sldMasterMkLst>
        <pc:spChg chg="mod">
          <ac:chgData name="Hagino, Mayu [JANJP]" userId="S::mhagino3@its.jnj.com::90699482-6b3e-479f-aef9-5595debdc6d5" providerId="AD" clId="Web-{F44FE3C1-A7DA-9367-B49D-9D736C5193B6}" dt="2019-11-12T08:50:05.835" v="0"/>
          <ac:spMkLst>
            <pc:docMk/>
            <pc:sldMasterMk cId="2373018287" sldId="2147483761"/>
            <ac:spMk id="5"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ac:spMk id="9" creationId="{53CFF25A-6D7D-413B-B62C-B9A2137217EE}"/>
          </ac:spMkLst>
        </pc:spChg>
        <pc:spChg chg="mod">
          <ac:chgData name="Hagino, Mayu [JANJP]" userId="S::mhagino3@its.jnj.com::90699482-6b3e-479f-aef9-5595debdc6d5" providerId="AD" clId="Web-{F44FE3C1-A7DA-9367-B49D-9D736C5193B6}" dt="2019-11-12T08:50:05.835" v="0"/>
          <ac:spMkLst>
            <pc:docMk/>
            <pc:sldMasterMk cId="2373018287" sldId="2147483761"/>
            <ac:spMk id="10" creationId="{9F3E12BE-E36B-46BD-A253-3DF8FD7BEF2C}"/>
          </ac:spMkLst>
        </pc:spChg>
        <pc:spChg chg="mod">
          <ac:chgData name="Hagino, Mayu [JANJP]" userId="S::mhagino3@its.jnj.com::90699482-6b3e-479f-aef9-5595debdc6d5" providerId="AD" clId="Web-{F44FE3C1-A7DA-9367-B49D-9D736C5193B6}" dt="2019-11-12T08:50:05.835" v="0"/>
          <ac:spMkLst>
            <pc:docMk/>
            <pc:sldMasterMk cId="2373018287" sldId="2147483761"/>
            <ac:spMk id="1030"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2373018287" sldId="2147483761"/>
            <ac:picMk id="4" creationId="{00000000-0000-0000-0000-000000000000}"/>
          </ac:picMkLst>
        </pc:picChg>
        <pc:sldLayoutChg chg="modSp">
          <pc:chgData name="Hagino, Mayu [JANJP]" userId="S::mhagino3@its.jnj.com::90699482-6b3e-479f-aef9-5595debdc6d5" providerId="AD" clId="Web-{F44FE3C1-A7DA-9367-B49D-9D736C5193B6}" dt="2019-11-12T08:50:05.835" v="0"/>
          <pc:sldLayoutMkLst>
            <pc:docMk/>
            <pc:sldMasterMk cId="2373018287" sldId="2147483761"/>
            <pc:sldLayoutMk cId="2415476639" sldId="2147483762"/>
          </pc:sldLayoutMkLst>
          <pc:picChg chg="mod">
            <ac:chgData name="Hagino, Mayu [JANJP]" userId="S::mhagino3@its.jnj.com::90699482-6b3e-479f-aef9-5595debdc6d5" providerId="AD" clId="Web-{F44FE3C1-A7DA-9367-B49D-9D736C5193B6}" dt="2019-11-12T08:50:05.835" v="0"/>
            <ac:picMkLst>
              <pc:docMk/>
              <pc:sldMasterMk cId="2373018287" sldId="2147483761"/>
              <pc:sldLayoutMk cId="2415476639" sldId="2147483762"/>
              <ac:picMk id="5"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2373018287" sldId="2147483761"/>
            <pc:sldLayoutMk cId="1683730294" sldId="2147483763"/>
          </pc:sldLayoutMkLst>
          <pc:spChg chg="mod">
            <ac:chgData name="Hagino, Mayu [JANJP]" userId="S::mhagino3@its.jnj.com::90699482-6b3e-479f-aef9-5595debdc6d5" providerId="AD" clId="Web-{F44FE3C1-A7DA-9367-B49D-9D736C5193B6}" dt="2019-11-12T08:50:05.835" v="0"/>
            <ac:spMkLst>
              <pc:docMk/>
              <pc:sldMasterMk cId="2373018287" sldId="2147483761"/>
              <pc:sldLayoutMk cId="1683730294" sldId="2147483763"/>
              <ac:spMk id="3"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1683730294" sldId="2147483763"/>
              <ac:spMk id="5"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2373018287" sldId="2147483761"/>
              <pc:sldLayoutMk cId="1683730294" sldId="2147483763"/>
              <ac:picMk id="2" creationId="{00000000-0000-0000-0000-000000000000}"/>
            </ac:picMkLst>
          </pc:picChg>
          <pc:picChg chg="mod">
            <ac:chgData name="Hagino, Mayu [JANJP]" userId="S::mhagino3@its.jnj.com::90699482-6b3e-479f-aef9-5595debdc6d5" providerId="AD" clId="Web-{F44FE3C1-A7DA-9367-B49D-9D736C5193B6}" dt="2019-11-12T08:50:05.835" v="0"/>
            <ac:picMkLst>
              <pc:docMk/>
              <pc:sldMasterMk cId="2373018287" sldId="2147483761"/>
              <pc:sldLayoutMk cId="1683730294" sldId="2147483763"/>
              <ac:picMk id="6" creationId="{00000000-0000-0000-0000-000000000000}"/>
            </ac:picMkLst>
          </pc:picChg>
          <pc:picChg chg="mod">
            <ac:chgData name="Hagino, Mayu [JANJP]" userId="S::mhagino3@its.jnj.com::90699482-6b3e-479f-aef9-5595debdc6d5" providerId="AD" clId="Web-{F44FE3C1-A7DA-9367-B49D-9D736C5193B6}" dt="2019-11-12T08:50:05.835" v="0"/>
            <ac:picMkLst>
              <pc:docMk/>
              <pc:sldMasterMk cId="2373018287" sldId="2147483761"/>
              <pc:sldLayoutMk cId="1683730294" sldId="2147483763"/>
              <ac:picMk id="7"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2373018287" sldId="2147483761"/>
            <pc:sldLayoutMk cId="2724940712" sldId="2147483764"/>
          </pc:sldLayoutMkLst>
          <pc:spChg chg="mod">
            <ac:chgData name="Hagino, Mayu [JANJP]" userId="S::mhagino3@its.jnj.com::90699482-6b3e-479f-aef9-5595debdc6d5" providerId="AD" clId="Web-{F44FE3C1-A7DA-9367-B49D-9D736C5193B6}" dt="2019-11-12T08:50:05.835" v="0"/>
            <ac:spMkLst>
              <pc:docMk/>
              <pc:sldMasterMk cId="2373018287" sldId="2147483761"/>
              <pc:sldLayoutMk cId="2724940712" sldId="2147483764"/>
              <ac:spMk id="3"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2724940712" sldId="2147483764"/>
              <ac:spMk id="8"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2724940712" sldId="2147483764"/>
              <ac:spMk id="9"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2724940712" sldId="2147483764"/>
              <ac:spMk id="12"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2724940712" sldId="2147483764"/>
              <ac:spMk id="13"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2373018287" sldId="2147483761"/>
              <pc:sldLayoutMk cId="2724940712" sldId="2147483764"/>
              <ac:picMk id="10"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2373018287" sldId="2147483761"/>
            <pc:sldLayoutMk cId="974067934" sldId="2147483766"/>
          </pc:sldLayoutMkLst>
          <pc:spChg chg="mod">
            <ac:chgData name="Hagino, Mayu [JANJP]" userId="S::mhagino3@its.jnj.com::90699482-6b3e-479f-aef9-5595debdc6d5" providerId="AD" clId="Web-{F44FE3C1-A7DA-9367-B49D-9D736C5193B6}" dt="2019-11-12T08:50:05.835" v="0"/>
            <ac:spMkLst>
              <pc:docMk/>
              <pc:sldMasterMk cId="2373018287" sldId="2147483761"/>
              <pc:sldLayoutMk cId="974067934" sldId="2147483766"/>
              <ac:spMk id="4"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974067934" sldId="2147483766"/>
              <ac:spMk id="5"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974067934" sldId="2147483766"/>
              <ac:spMk id="6"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974067934" sldId="2147483766"/>
              <ac:spMk id="7"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2373018287" sldId="2147483761"/>
              <pc:sldLayoutMk cId="974067934" sldId="2147483766"/>
              <ac:picMk id="9" creationId="{00000000-0000-0000-0000-000000000000}"/>
            </ac:picMkLst>
          </pc:picChg>
          <pc:picChg chg="mod">
            <ac:chgData name="Hagino, Mayu [JANJP]" userId="S::mhagino3@its.jnj.com::90699482-6b3e-479f-aef9-5595debdc6d5" providerId="AD" clId="Web-{F44FE3C1-A7DA-9367-B49D-9D736C5193B6}" dt="2019-11-12T08:50:05.835" v="0"/>
            <ac:picMkLst>
              <pc:docMk/>
              <pc:sldMasterMk cId="2373018287" sldId="2147483761"/>
              <pc:sldLayoutMk cId="974067934" sldId="2147483766"/>
              <ac:picMk id="13"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2373018287" sldId="2147483761"/>
            <pc:sldLayoutMk cId="153404766" sldId="2147483767"/>
          </pc:sldLayoutMkLst>
          <pc:spChg chg="mod">
            <ac:chgData name="Hagino, Mayu [JANJP]" userId="S::mhagino3@its.jnj.com::90699482-6b3e-479f-aef9-5595debdc6d5" providerId="AD" clId="Web-{F44FE3C1-A7DA-9367-B49D-9D736C5193B6}" dt="2019-11-12T08:50:05.835" v="0"/>
            <ac:spMkLst>
              <pc:docMk/>
              <pc:sldMasterMk cId="2373018287" sldId="2147483761"/>
              <pc:sldLayoutMk cId="153404766" sldId="2147483767"/>
              <ac:spMk id="2" creationId="{00000000-0000-0000-0000-000000000000}"/>
            </ac:spMkLst>
          </pc:spChg>
        </pc:sldLayoutChg>
        <pc:sldLayoutChg chg="modSp">
          <pc:chgData name="Hagino, Mayu [JANJP]" userId="S::mhagino3@its.jnj.com::90699482-6b3e-479f-aef9-5595debdc6d5" providerId="AD" clId="Web-{F44FE3C1-A7DA-9367-B49D-9D736C5193B6}" dt="2019-11-12T08:50:05.835" v="0"/>
          <pc:sldLayoutMkLst>
            <pc:docMk/>
            <pc:sldMasterMk cId="2373018287" sldId="2147483761"/>
            <pc:sldLayoutMk cId="2948990893" sldId="2147483768"/>
          </pc:sldLayoutMkLst>
          <pc:spChg chg="mod">
            <ac:chgData name="Hagino, Mayu [JANJP]" userId="S::mhagino3@its.jnj.com::90699482-6b3e-479f-aef9-5595debdc6d5" providerId="AD" clId="Web-{F44FE3C1-A7DA-9367-B49D-9D736C5193B6}" dt="2019-11-12T08:50:05.835" v="0"/>
            <ac:spMkLst>
              <pc:docMk/>
              <pc:sldMasterMk cId="2373018287" sldId="2147483761"/>
              <pc:sldLayoutMk cId="2948990893" sldId="2147483768"/>
              <ac:spMk id="2"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2948990893" sldId="2147483768"/>
              <ac:spMk id="8"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2948990893" sldId="2147483768"/>
              <ac:spMk id="10"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2948990893" sldId="2147483768"/>
              <ac:spMk id="16"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2948990893" sldId="2147483768"/>
              <ac:spMk id="17"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2373018287" sldId="2147483761"/>
              <pc:sldLayoutMk cId="2948990893" sldId="2147483768"/>
              <ac:picMk id="11" creationId="{00000000-0000-0000-0000-000000000000}"/>
            </ac:picMkLst>
          </pc:picChg>
          <pc:picChg chg="mod">
            <ac:chgData name="Hagino, Mayu [JANJP]" userId="S::mhagino3@its.jnj.com::90699482-6b3e-479f-aef9-5595debdc6d5" providerId="AD" clId="Web-{F44FE3C1-A7DA-9367-B49D-9D736C5193B6}" dt="2019-11-12T08:50:05.835" v="0"/>
            <ac:picMkLst>
              <pc:docMk/>
              <pc:sldMasterMk cId="2373018287" sldId="2147483761"/>
              <pc:sldLayoutMk cId="2948990893" sldId="2147483768"/>
              <ac:picMk id="12" creationId="{00000000-0000-0000-0000-000000000000}"/>
            </ac:picMkLst>
          </pc:picChg>
          <pc:picChg chg="mod">
            <ac:chgData name="Hagino, Mayu [JANJP]" userId="S::mhagino3@its.jnj.com::90699482-6b3e-479f-aef9-5595debdc6d5" providerId="AD" clId="Web-{F44FE3C1-A7DA-9367-B49D-9D736C5193B6}" dt="2019-11-12T08:50:05.835" v="0"/>
            <ac:picMkLst>
              <pc:docMk/>
              <pc:sldMasterMk cId="2373018287" sldId="2147483761"/>
              <pc:sldLayoutMk cId="2948990893" sldId="2147483768"/>
              <ac:picMk id="15"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2373018287" sldId="2147483761"/>
            <pc:sldLayoutMk cId="299431129" sldId="2147483769"/>
          </pc:sldLayoutMkLst>
          <pc:spChg chg="mod">
            <ac:chgData name="Hagino, Mayu [JANJP]" userId="S::mhagino3@its.jnj.com::90699482-6b3e-479f-aef9-5595debdc6d5" providerId="AD" clId="Web-{F44FE3C1-A7DA-9367-B49D-9D736C5193B6}" dt="2019-11-12T08:50:05.835" v="0"/>
            <ac:spMkLst>
              <pc:docMk/>
              <pc:sldMasterMk cId="2373018287" sldId="2147483761"/>
              <pc:sldLayoutMk cId="299431129" sldId="2147483769"/>
              <ac:spMk id="2"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299431129" sldId="2147483769"/>
              <ac:spMk id="3"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299431129" sldId="2147483769"/>
              <ac:spMk id="4" creationId="{00000000-0000-0000-0000-000000000000}"/>
            </ac:spMkLst>
          </pc:spChg>
        </pc:sldLayoutChg>
        <pc:sldLayoutChg chg="modSp">
          <pc:chgData name="Hagino, Mayu [JANJP]" userId="S::mhagino3@its.jnj.com::90699482-6b3e-479f-aef9-5595debdc6d5" providerId="AD" clId="Web-{F44FE3C1-A7DA-9367-B49D-9D736C5193B6}" dt="2019-11-12T08:50:05.835" v="0"/>
          <pc:sldLayoutMkLst>
            <pc:docMk/>
            <pc:sldMasterMk cId="2373018287" sldId="2147483761"/>
            <pc:sldLayoutMk cId="2873611949" sldId="2147483770"/>
          </pc:sldLayoutMkLst>
          <pc:spChg chg="mod">
            <ac:chgData name="Hagino, Mayu [JANJP]" userId="S::mhagino3@its.jnj.com::90699482-6b3e-479f-aef9-5595debdc6d5" providerId="AD" clId="Web-{F44FE3C1-A7DA-9367-B49D-9D736C5193B6}" dt="2019-11-12T08:50:05.835" v="0"/>
            <ac:spMkLst>
              <pc:docMk/>
              <pc:sldMasterMk cId="2373018287" sldId="2147483761"/>
              <pc:sldLayoutMk cId="2873611949" sldId="2147483770"/>
              <ac:spMk id="2"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2873611949" sldId="2147483770"/>
              <ac:spMk id="4"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2873611949" sldId="2147483770"/>
              <ac:spMk id="6" creationId="{00000000-0000-0000-0000-000000000000}"/>
            </ac:spMkLst>
          </pc:spChg>
          <pc:spChg chg="mod">
            <ac:chgData name="Hagino, Mayu [JANJP]" userId="S::mhagino3@its.jnj.com::90699482-6b3e-479f-aef9-5595debdc6d5" providerId="AD" clId="Web-{F44FE3C1-A7DA-9367-B49D-9D736C5193B6}" dt="2019-11-12T08:50:05.835" v="0"/>
            <ac:spMkLst>
              <pc:docMk/>
              <pc:sldMasterMk cId="2373018287" sldId="2147483761"/>
              <pc:sldLayoutMk cId="2873611949" sldId="2147483770"/>
              <ac:spMk id="11" creationId="{00000000-0000-0000-0000-000000000000}"/>
            </ac:spMkLst>
          </pc:spChg>
        </pc:sldLayoutChg>
      </pc:sldMasterChg>
      <pc:sldMasterChg chg="modSp modSldLayout">
        <pc:chgData name="Hagino, Mayu [JANJP]" userId="S::mhagino3@its.jnj.com::90699482-6b3e-479f-aef9-5595debdc6d5" providerId="AD" clId="Web-{F44FE3C1-A7DA-9367-B49D-9D736C5193B6}" dt="2019-11-12T08:50:05.835" v="0"/>
        <pc:sldMasterMkLst>
          <pc:docMk/>
          <pc:sldMasterMk cId="927504933" sldId="2147483786"/>
        </pc:sldMasterMkLst>
        <pc:spChg chg="mod">
          <ac:chgData name="Hagino, Mayu [JANJP]" userId="S::mhagino3@its.jnj.com::90699482-6b3e-479f-aef9-5595debdc6d5" providerId="AD" clId="Web-{F44FE3C1-A7DA-9367-B49D-9D736C5193B6}" dt="2019-11-12T08:50:05.835" v="0"/>
          <ac:spMkLst>
            <pc:docMk/>
            <pc:sldMasterMk cId="927504933" sldId="2147483786"/>
            <ac:spMk id="3"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ac:spMk id="1030"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ac:spMk id="2051"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ac:spMk id="2052"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927504933" sldId="2147483786"/>
            <ac:picMk id="2" creationId="{00000000-0000-0000-0000-000000000000}"/>
          </ac:picMkLst>
        </pc:picChg>
        <pc:picChg chg="mod">
          <ac:chgData name="Hagino, Mayu [JANJP]" userId="S::mhagino3@its.jnj.com::90699482-6b3e-479f-aef9-5595debdc6d5" providerId="AD" clId="Web-{F44FE3C1-A7DA-9367-B49D-9D736C5193B6}" dt="2019-11-12T08:50:05.835" v="0"/>
          <ac:picMkLst>
            <pc:docMk/>
            <pc:sldMasterMk cId="927504933" sldId="2147483786"/>
            <ac:picMk id="4" creationId="{00000000-0000-0000-0000-000000000000}"/>
          </ac:picMkLst>
        </pc:picChg>
        <pc:sldLayoutChg chg="modSp">
          <pc:chgData name="Hagino, Mayu [JANJP]" userId="S::mhagino3@its.jnj.com::90699482-6b3e-479f-aef9-5595debdc6d5" providerId="AD" clId="Web-{F44FE3C1-A7DA-9367-B49D-9D736C5193B6}" dt="2019-11-12T08:50:05.835" v="0"/>
          <pc:sldLayoutMkLst>
            <pc:docMk/>
            <pc:sldMasterMk cId="927504933" sldId="2147483786"/>
            <pc:sldLayoutMk cId="4047721417" sldId="2147483787"/>
          </pc:sldLayoutMkLst>
          <pc:picChg chg="mod">
            <ac:chgData name="Hagino, Mayu [JANJP]" userId="S::mhagino3@its.jnj.com::90699482-6b3e-479f-aef9-5595debdc6d5" providerId="AD" clId="Web-{F44FE3C1-A7DA-9367-B49D-9D736C5193B6}" dt="2019-11-12T08:50:05.835" v="0"/>
            <ac:picMkLst>
              <pc:docMk/>
              <pc:sldMasterMk cId="927504933" sldId="2147483786"/>
              <pc:sldLayoutMk cId="4047721417" sldId="2147483787"/>
              <ac:picMk id="5"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927504933" sldId="2147483786"/>
            <pc:sldLayoutMk cId="1888961296" sldId="2147483788"/>
          </pc:sldLayoutMkLst>
          <pc:spChg chg="mod">
            <ac:chgData name="Hagino, Mayu [JANJP]" userId="S::mhagino3@its.jnj.com::90699482-6b3e-479f-aef9-5595debdc6d5" providerId="AD" clId="Web-{F44FE3C1-A7DA-9367-B49D-9D736C5193B6}" dt="2019-11-12T08:50:05.835" v="0"/>
            <ac:spMkLst>
              <pc:docMk/>
              <pc:sldMasterMk cId="927504933" sldId="2147483786"/>
              <pc:sldLayoutMk cId="1888961296" sldId="2147483788"/>
              <ac:spMk id="3"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1888961296" sldId="2147483788"/>
              <ac:spMk id="5"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927504933" sldId="2147483786"/>
              <pc:sldLayoutMk cId="1888961296" sldId="2147483788"/>
              <ac:picMk id="2" creationId="{00000000-0000-0000-0000-000000000000}"/>
            </ac:picMkLst>
          </pc:picChg>
          <pc:picChg chg="mod">
            <ac:chgData name="Hagino, Mayu [JANJP]" userId="S::mhagino3@its.jnj.com::90699482-6b3e-479f-aef9-5595debdc6d5" providerId="AD" clId="Web-{F44FE3C1-A7DA-9367-B49D-9D736C5193B6}" dt="2019-11-12T08:50:05.835" v="0"/>
            <ac:picMkLst>
              <pc:docMk/>
              <pc:sldMasterMk cId="927504933" sldId="2147483786"/>
              <pc:sldLayoutMk cId="1888961296" sldId="2147483788"/>
              <ac:picMk id="6" creationId="{00000000-0000-0000-0000-000000000000}"/>
            </ac:picMkLst>
          </pc:picChg>
          <pc:picChg chg="mod">
            <ac:chgData name="Hagino, Mayu [JANJP]" userId="S::mhagino3@its.jnj.com::90699482-6b3e-479f-aef9-5595debdc6d5" providerId="AD" clId="Web-{F44FE3C1-A7DA-9367-B49D-9D736C5193B6}" dt="2019-11-12T08:50:05.835" v="0"/>
            <ac:picMkLst>
              <pc:docMk/>
              <pc:sldMasterMk cId="927504933" sldId="2147483786"/>
              <pc:sldLayoutMk cId="1888961296" sldId="2147483788"/>
              <ac:picMk id="7"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927504933" sldId="2147483786"/>
            <pc:sldLayoutMk cId="2324671535" sldId="2147483789"/>
          </pc:sldLayoutMkLst>
          <pc:spChg chg="mod">
            <ac:chgData name="Hagino, Mayu [JANJP]" userId="S::mhagino3@its.jnj.com::90699482-6b3e-479f-aef9-5595debdc6d5" providerId="AD" clId="Web-{F44FE3C1-A7DA-9367-B49D-9D736C5193B6}" dt="2019-11-12T08:50:05.835" v="0"/>
            <ac:spMkLst>
              <pc:docMk/>
              <pc:sldMasterMk cId="927504933" sldId="2147483786"/>
              <pc:sldLayoutMk cId="2324671535" sldId="2147483789"/>
              <ac:spMk id="3"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2324671535" sldId="2147483789"/>
              <ac:spMk id="8"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2324671535" sldId="2147483789"/>
              <ac:spMk id="9"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2324671535" sldId="2147483789"/>
              <ac:spMk id="12"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2324671535" sldId="2147483789"/>
              <ac:spMk id="13"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927504933" sldId="2147483786"/>
              <pc:sldLayoutMk cId="2324671535" sldId="2147483789"/>
              <ac:picMk id="10"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927504933" sldId="2147483786"/>
            <pc:sldLayoutMk cId="3161779815" sldId="2147483790"/>
          </pc:sldLayoutMkLst>
          <pc:spChg chg="mod">
            <ac:chgData name="Hagino, Mayu [JANJP]" userId="S::mhagino3@its.jnj.com::90699482-6b3e-479f-aef9-5595debdc6d5" providerId="AD" clId="Web-{F44FE3C1-A7DA-9367-B49D-9D736C5193B6}" dt="2019-11-12T08:50:05.835" v="0"/>
            <ac:spMkLst>
              <pc:docMk/>
              <pc:sldMasterMk cId="927504933" sldId="2147483786"/>
              <pc:sldLayoutMk cId="3161779815" sldId="2147483790"/>
              <ac:spMk id="4"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3161779815" sldId="2147483790"/>
              <ac:spMk id="5" creationId="{00000000-0000-0000-0000-000000000000}"/>
            </ac:spMkLst>
          </pc:spChg>
        </pc:sldLayoutChg>
        <pc:sldLayoutChg chg="modSp">
          <pc:chgData name="Hagino, Mayu [JANJP]" userId="S::mhagino3@its.jnj.com::90699482-6b3e-479f-aef9-5595debdc6d5" providerId="AD" clId="Web-{F44FE3C1-A7DA-9367-B49D-9D736C5193B6}" dt="2019-11-12T08:50:05.835" v="0"/>
          <pc:sldLayoutMkLst>
            <pc:docMk/>
            <pc:sldMasterMk cId="927504933" sldId="2147483786"/>
            <pc:sldLayoutMk cId="961203355" sldId="2147483791"/>
          </pc:sldLayoutMkLst>
          <pc:spChg chg="mod">
            <ac:chgData name="Hagino, Mayu [JANJP]" userId="S::mhagino3@its.jnj.com::90699482-6b3e-479f-aef9-5595debdc6d5" providerId="AD" clId="Web-{F44FE3C1-A7DA-9367-B49D-9D736C5193B6}" dt="2019-11-12T08:50:05.835" v="0"/>
            <ac:spMkLst>
              <pc:docMk/>
              <pc:sldMasterMk cId="927504933" sldId="2147483786"/>
              <pc:sldLayoutMk cId="961203355" sldId="2147483791"/>
              <ac:spMk id="4"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961203355" sldId="2147483791"/>
              <ac:spMk id="5"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961203355" sldId="2147483791"/>
              <ac:spMk id="6"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961203355" sldId="2147483791"/>
              <ac:spMk id="7"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927504933" sldId="2147483786"/>
              <pc:sldLayoutMk cId="961203355" sldId="2147483791"/>
              <ac:picMk id="9" creationId="{00000000-0000-0000-0000-000000000000}"/>
            </ac:picMkLst>
          </pc:picChg>
          <pc:picChg chg="mod">
            <ac:chgData name="Hagino, Mayu [JANJP]" userId="S::mhagino3@its.jnj.com::90699482-6b3e-479f-aef9-5595debdc6d5" providerId="AD" clId="Web-{F44FE3C1-A7DA-9367-B49D-9D736C5193B6}" dt="2019-11-12T08:50:05.835" v="0"/>
            <ac:picMkLst>
              <pc:docMk/>
              <pc:sldMasterMk cId="927504933" sldId="2147483786"/>
              <pc:sldLayoutMk cId="961203355" sldId="2147483791"/>
              <ac:picMk id="13"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927504933" sldId="2147483786"/>
            <pc:sldLayoutMk cId="2997330901" sldId="2147483793"/>
          </pc:sldLayoutMkLst>
          <pc:spChg chg="mod">
            <ac:chgData name="Hagino, Mayu [JANJP]" userId="S::mhagino3@its.jnj.com::90699482-6b3e-479f-aef9-5595debdc6d5" providerId="AD" clId="Web-{F44FE3C1-A7DA-9367-B49D-9D736C5193B6}" dt="2019-11-12T08:50:05.835" v="0"/>
            <ac:spMkLst>
              <pc:docMk/>
              <pc:sldMasterMk cId="927504933" sldId="2147483786"/>
              <pc:sldLayoutMk cId="2997330901" sldId="2147483793"/>
              <ac:spMk id="2"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2997330901" sldId="2147483793"/>
              <ac:spMk id="8"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2997330901" sldId="2147483793"/>
              <ac:spMk id="10"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2997330901" sldId="2147483793"/>
              <ac:spMk id="16"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2997330901" sldId="2147483793"/>
              <ac:spMk id="17"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927504933" sldId="2147483786"/>
              <pc:sldLayoutMk cId="2997330901" sldId="2147483793"/>
              <ac:picMk id="11" creationId="{00000000-0000-0000-0000-000000000000}"/>
            </ac:picMkLst>
          </pc:picChg>
          <pc:picChg chg="mod">
            <ac:chgData name="Hagino, Mayu [JANJP]" userId="S::mhagino3@its.jnj.com::90699482-6b3e-479f-aef9-5595debdc6d5" providerId="AD" clId="Web-{F44FE3C1-A7DA-9367-B49D-9D736C5193B6}" dt="2019-11-12T08:50:05.835" v="0"/>
            <ac:picMkLst>
              <pc:docMk/>
              <pc:sldMasterMk cId="927504933" sldId="2147483786"/>
              <pc:sldLayoutMk cId="2997330901" sldId="2147483793"/>
              <ac:picMk id="12" creationId="{00000000-0000-0000-0000-000000000000}"/>
            </ac:picMkLst>
          </pc:picChg>
          <pc:picChg chg="mod">
            <ac:chgData name="Hagino, Mayu [JANJP]" userId="S::mhagino3@its.jnj.com::90699482-6b3e-479f-aef9-5595debdc6d5" providerId="AD" clId="Web-{F44FE3C1-A7DA-9367-B49D-9D736C5193B6}" dt="2019-11-12T08:50:05.835" v="0"/>
            <ac:picMkLst>
              <pc:docMk/>
              <pc:sldMasterMk cId="927504933" sldId="2147483786"/>
              <pc:sldLayoutMk cId="2997330901" sldId="2147483793"/>
              <ac:picMk id="15"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927504933" sldId="2147483786"/>
            <pc:sldLayoutMk cId="116778542" sldId="2147483794"/>
          </pc:sldLayoutMkLst>
          <pc:spChg chg="mod">
            <ac:chgData name="Hagino, Mayu [JANJP]" userId="S::mhagino3@its.jnj.com::90699482-6b3e-479f-aef9-5595debdc6d5" providerId="AD" clId="Web-{F44FE3C1-A7DA-9367-B49D-9D736C5193B6}" dt="2019-11-12T08:50:05.835" v="0"/>
            <ac:spMkLst>
              <pc:docMk/>
              <pc:sldMasterMk cId="927504933" sldId="2147483786"/>
              <pc:sldLayoutMk cId="116778542" sldId="2147483794"/>
              <ac:spMk id="3"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116778542" sldId="2147483794"/>
              <ac:spMk id="4" creationId="{00000000-0000-0000-0000-000000000000}"/>
            </ac:spMkLst>
          </pc:spChg>
        </pc:sldLayoutChg>
        <pc:sldLayoutChg chg="modSp">
          <pc:chgData name="Hagino, Mayu [JANJP]" userId="S::mhagino3@its.jnj.com::90699482-6b3e-479f-aef9-5595debdc6d5" providerId="AD" clId="Web-{F44FE3C1-A7DA-9367-B49D-9D736C5193B6}" dt="2019-11-12T08:50:05.835" v="0"/>
          <pc:sldLayoutMkLst>
            <pc:docMk/>
            <pc:sldMasterMk cId="927504933" sldId="2147483786"/>
            <pc:sldLayoutMk cId="303484157" sldId="2147483795"/>
          </pc:sldLayoutMkLst>
          <pc:spChg chg="mod">
            <ac:chgData name="Hagino, Mayu [JANJP]" userId="S::mhagino3@its.jnj.com::90699482-6b3e-479f-aef9-5595debdc6d5" providerId="AD" clId="Web-{F44FE3C1-A7DA-9367-B49D-9D736C5193B6}" dt="2019-11-12T08:50:05.835" v="0"/>
            <ac:spMkLst>
              <pc:docMk/>
              <pc:sldMasterMk cId="927504933" sldId="2147483786"/>
              <pc:sldLayoutMk cId="303484157" sldId="2147483795"/>
              <ac:spMk id="4"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303484157" sldId="2147483795"/>
              <ac:spMk id="6"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303484157" sldId="2147483795"/>
              <ac:spMk id="11" creationId="{00000000-0000-0000-0000-000000000000}"/>
            </ac:spMkLst>
          </pc:spChg>
        </pc:sldLayoutChg>
        <pc:sldLayoutChg chg="modSp">
          <pc:chgData name="Hagino, Mayu [JANJP]" userId="S::mhagino3@its.jnj.com::90699482-6b3e-479f-aef9-5595debdc6d5" providerId="AD" clId="Web-{F44FE3C1-A7DA-9367-B49D-9D736C5193B6}" dt="2019-11-12T08:50:05.835" v="0"/>
          <pc:sldLayoutMkLst>
            <pc:docMk/>
            <pc:sldMasterMk cId="927504933" sldId="2147483786"/>
            <pc:sldLayoutMk cId="3052742363" sldId="2147483797"/>
          </pc:sldLayoutMkLst>
          <pc:spChg chg="mod">
            <ac:chgData name="Hagino, Mayu [JANJP]" userId="S::mhagino3@its.jnj.com::90699482-6b3e-479f-aef9-5595debdc6d5" providerId="AD" clId="Web-{F44FE3C1-A7DA-9367-B49D-9D736C5193B6}" dt="2019-11-12T08:50:05.835" v="0"/>
            <ac:spMkLst>
              <pc:docMk/>
              <pc:sldMasterMk cId="927504933" sldId="2147483786"/>
              <pc:sldLayoutMk cId="3052742363" sldId="2147483797"/>
              <ac:spMk id="14"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3052742363" sldId="2147483797"/>
              <ac:spMk id="16"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3052742363" sldId="2147483797"/>
              <ac:spMk id="17"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3052742363" sldId="2147483797"/>
              <ac:spMk id="19"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3052742363" sldId="2147483797"/>
              <ac:spMk id="24"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3052742363" sldId="2147483797"/>
              <ac:spMk id="13314"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3052742363" sldId="2147483797"/>
              <ac:spMk id="13315" creationId="{00000000-0000-0000-0000-000000000000}"/>
            </ac:spMkLst>
          </pc:spChg>
          <pc:grpChg chg="mod">
            <ac:chgData name="Hagino, Mayu [JANJP]" userId="S::mhagino3@its.jnj.com::90699482-6b3e-479f-aef9-5595debdc6d5" providerId="AD" clId="Web-{F44FE3C1-A7DA-9367-B49D-9D736C5193B6}" dt="2019-11-12T08:50:05.835" v="0"/>
            <ac:grpSpMkLst>
              <pc:docMk/>
              <pc:sldMasterMk cId="927504933" sldId="2147483786"/>
              <pc:sldLayoutMk cId="3052742363" sldId="2147483797"/>
              <ac:grpSpMk id="2" creationId="{00000000-0000-0000-0000-000000000000}"/>
            </ac:grpSpMkLst>
          </pc:grpChg>
          <pc:grpChg chg="mod">
            <ac:chgData name="Hagino, Mayu [JANJP]" userId="S::mhagino3@its.jnj.com::90699482-6b3e-479f-aef9-5595debdc6d5" providerId="AD" clId="Web-{F44FE3C1-A7DA-9367-B49D-9D736C5193B6}" dt="2019-11-12T08:50:05.835" v="0"/>
            <ac:grpSpMkLst>
              <pc:docMk/>
              <pc:sldMasterMk cId="927504933" sldId="2147483786"/>
              <pc:sldLayoutMk cId="3052742363" sldId="2147483797"/>
              <ac:grpSpMk id="15" creationId="{00000000-0000-0000-0000-000000000000}"/>
            </ac:grpSpMkLst>
          </pc:grpChg>
          <pc:graphicFrameChg chg="mod">
            <ac:chgData name="Hagino, Mayu [JANJP]" userId="S::mhagino3@its.jnj.com::90699482-6b3e-479f-aef9-5595debdc6d5" providerId="AD" clId="Web-{F44FE3C1-A7DA-9367-B49D-9D736C5193B6}" dt="2019-11-12T08:50:05.835" v="0"/>
            <ac:graphicFrameMkLst>
              <pc:docMk/>
              <pc:sldMasterMk cId="927504933" sldId="2147483786"/>
              <pc:sldLayoutMk cId="3052742363" sldId="2147483797"/>
              <ac:graphicFrameMk id="13" creationId="{00000000-0000-0000-0000-000000000000}"/>
            </ac:graphicFrameMkLst>
          </pc:graphicFrameChg>
          <pc:picChg chg="mod">
            <ac:chgData name="Hagino, Mayu [JANJP]" userId="S::mhagino3@its.jnj.com::90699482-6b3e-479f-aef9-5595debdc6d5" providerId="AD" clId="Web-{F44FE3C1-A7DA-9367-B49D-9D736C5193B6}" dt="2019-11-12T08:50:05.835" v="0"/>
            <ac:picMkLst>
              <pc:docMk/>
              <pc:sldMasterMk cId="927504933" sldId="2147483786"/>
              <pc:sldLayoutMk cId="3052742363" sldId="2147483797"/>
              <ac:picMk id="19952"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927504933" sldId="2147483786"/>
            <pc:sldLayoutMk cId="1669717555" sldId="2147483799"/>
          </pc:sldLayoutMkLst>
          <pc:spChg chg="mod">
            <ac:chgData name="Hagino, Mayu [JANJP]" userId="S::mhagino3@its.jnj.com::90699482-6b3e-479f-aef9-5595debdc6d5" providerId="AD" clId="Web-{F44FE3C1-A7DA-9367-B49D-9D736C5193B6}" dt="2019-11-12T08:50:05.835" v="0"/>
            <ac:spMkLst>
              <pc:docMk/>
              <pc:sldMasterMk cId="927504933" sldId="2147483786"/>
              <pc:sldLayoutMk cId="1669717555" sldId="2147483799"/>
              <ac:spMk id="4"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1669717555" sldId="2147483799"/>
              <ac:spMk id="6" creationId="{00000000-0000-0000-0000-000000000000}"/>
            </ac:spMkLst>
          </pc:spChg>
          <pc:spChg chg="mod">
            <ac:chgData name="Hagino, Mayu [JANJP]" userId="S::mhagino3@its.jnj.com::90699482-6b3e-479f-aef9-5595debdc6d5" providerId="AD" clId="Web-{F44FE3C1-A7DA-9367-B49D-9D736C5193B6}" dt="2019-11-12T08:50:05.835" v="0"/>
            <ac:spMkLst>
              <pc:docMk/>
              <pc:sldMasterMk cId="927504933" sldId="2147483786"/>
              <pc:sldLayoutMk cId="1669717555" sldId="2147483799"/>
              <ac:spMk id="14"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927504933" sldId="2147483786"/>
              <pc:sldLayoutMk cId="1669717555" sldId="2147483799"/>
              <ac:picMk id="11" creationId="{00000000-0000-0000-0000-000000000000}"/>
            </ac:picMkLst>
          </pc:picChg>
        </pc:sldLayoutChg>
      </pc:sldMasterChg>
      <pc:sldMasterChg chg="modSp modSldLayout">
        <pc:chgData name="Hagino, Mayu [JANJP]" userId="S::mhagino3@its.jnj.com::90699482-6b3e-479f-aef9-5595debdc6d5" providerId="AD" clId="Web-{F44FE3C1-A7DA-9367-B49D-9D736C5193B6}" dt="2019-11-12T08:50:05.835" v="0"/>
        <pc:sldMasterMkLst>
          <pc:docMk/>
          <pc:sldMasterMk cId="4092798767" sldId="2147483800"/>
        </pc:sldMasterMkLst>
        <pc:spChg chg="mod">
          <ac:chgData name="Hagino, Mayu [JANJP]" userId="S::mhagino3@its.jnj.com::90699482-6b3e-479f-aef9-5595debdc6d5" providerId="AD" clId="Web-{F44FE3C1-A7DA-9367-B49D-9D736C5193B6}" dt="2019-11-12T08:50:05.835" v="0"/>
          <ac:spMkLst>
            <pc:docMk/>
            <pc:sldMasterMk cId="4092798767" sldId="2147483800"/>
            <ac:spMk id="9"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ac:spMk id="1030"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ac:spMk id="2051"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ac:spMk id="2052" creationId="{00000000-0000-0000-0000-000000000000}"/>
          </ac:spMkLst>
        </pc:spChg>
        <pc:graphicFrameChg chg="mod">
          <ac:chgData name="Hagino, Mayu [JANJP]" userId="S::mhagino3@its.jnj.com::90699482-6b3e-479f-aef9-5595debdc6d5" providerId="AD" clId="Web-{F44FE3C1-A7DA-9367-B49D-9D736C5193B6}" dt="2019-11-12T08:50:05.835" v="0"/>
          <ac:graphicFrameMkLst>
            <pc:docMk/>
            <pc:sldMasterMk cId="4092798767" sldId="2147483800"/>
            <ac:graphicFrameMk id="3" creationId="{00000000-0000-0000-0000-000000000000}"/>
          </ac:graphicFrameMkLst>
        </pc:graphicFrameChg>
        <pc:picChg chg="mod">
          <ac:chgData name="Hagino, Mayu [JANJP]" userId="S::mhagino3@its.jnj.com::90699482-6b3e-479f-aef9-5595debdc6d5" providerId="AD" clId="Web-{F44FE3C1-A7DA-9367-B49D-9D736C5193B6}" dt="2019-11-12T08:50:05.835" v="0"/>
          <ac:picMkLst>
            <pc:docMk/>
            <pc:sldMasterMk cId="4092798767" sldId="2147483800"/>
            <ac:picMk id="2" creationId="{00000000-0000-0000-0000-000000000000}"/>
          </ac:picMkLst>
        </pc:picChg>
        <pc:picChg chg="mod">
          <ac:chgData name="Hagino, Mayu [JANJP]" userId="S::mhagino3@its.jnj.com::90699482-6b3e-479f-aef9-5595debdc6d5" providerId="AD" clId="Web-{F44FE3C1-A7DA-9367-B49D-9D736C5193B6}" dt="2019-11-12T08:50:05.835" v="0"/>
          <ac:picMkLst>
            <pc:docMk/>
            <pc:sldMasterMk cId="4092798767" sldId="2147483800"/>
            <ac:picMk id="12" creationId="{00000000-0000-0000-0000-000000000000}"/>
          </ac:picMkLst>
        </pc:picChg>
        <pc:sldLayoutChg chg="modSp">
          <pc:chgData name="Hagino, Mayu [JANJP]" userId="S::mhagino3@its.jnj.com::90699482-6b3e-479f-aef9-5595debdc6d5" providerId="AD" clId="Web-{F44FE3C1-A7DA-9367-B49D-9D736C5193B6}" dt="2019-11-12T08:50:05.835" v="0"/>
          <pc:sldLayoutMkLst>
            <pc:docMk/>
            <pc:sldMasterMk cId="4092798767" sldId="2147483800"/>
            <pc:sldLayoutMk cId="544238768" sldId="2147483801"/>
          </pc:sldLayoutMkLst>
          <pc:picChg chg="mod">
            <ac:chgData name="Hagino, Mayu [JANJP]" userId="S::mhagino3@its.jnj.com::90699482-6b3e-479f-aef9-5595debdc6d5" providerId="AD" clId="Web-{F44FE3C1-A7DA-9367-B49D-9D736C5193B6}" dt="2019-11-12T08:50:05.835" v="0"/>
            <ac:picMkLst>
              <pc:docMk/>
              <pc:sldMasterMk cId="4092798767" sldId="2147483800"/>
              <pc:sldLayoutMk cId="544238768" sldId="2147483801"/>
              <ac:picMk id="5"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4092798767" sldId="2147483800"/>
            <pc:sldLayoutMk cId="3024798928" sldId="2147483802"/>
          </pc:sldLayoutMkLst>
          <pc:spChg chg="mod">
            <ac:chgData name="Hagino, Mayu [JANJP]" userId="S::mhagino3@its.jnj.com::90699482-6b3e-479f-aef9-5595debdc6d5" providerId="AD" clId="Web-{F44FE3C1-A7DA-9367-B49D-9D736C5193B6}" dt="2019-11-12T08:50:05.835" v="0"/>
            <ac:spMkLst>
              <pc:docMk/>
              <pc:sldMasterMk cId="4092798767" sldId="2147483800"/>
              <pc:sldLayoutMk cId="3024798928" sldId="2147483802"/>
              <ac:spMk id="5"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4092798767" sldId="2147483800"/>
              <pc:sldLayoutMk cId="3024798928" sldId="2147483802"/>
              <ac:picMk id="6" creationId="{00000000-0000-0000-0000-000000000000}"/>
            </ac:picMkLst>
          </pc:picChg>
          <pc:picChg chg="mod">
            <ac:chgData name="Hagino, Mayu [JANJP]" userId="S::mhagino3@its.jnj.com::90699482-6b3e-479f-aef9-5595debdc6d5" providerId="AD" clId="Web-{F44FE3C1-A7DA-9367-B49D-9D736C5193B6}" dt="2019-11-12T08:50:05.835" v="0"/>
            <ac:picMkLst>
              <pc:docMk/>
              <pc:sldMasterMk cId="4092798767" sldId="2147483800"/>
              <pc:sldLayoutMk cId="3024798928" sldId="2147483802"/>
              <ac:picMk id="7"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4092798767" sldId="2147483800"/>
            <pc:sldLayoutMk cId="2922402543" sldId="2147483803"/>
          </pc:sldLayoutMkLst>
          <pc:spChg chg="mod">
            <ac:chgData name="Hagino, Mayu [JANJP]" userId="S::mhagino3@its.jnj.com::90699482-6b3e-479f-aef9-5595debdc6d5" providerId="AD" clId="Web-{F44FE3C1-A7DA-9367-B49D-9D736C5193B6}" dt="2019-11-12T08:50:05.835" v="0"/>
            <ac:spMkLst>
              <pc:docMk/>
              <pc:sldMasterMk cId="4092798767" sldId="2147483800"/>
              <pc:sldLayoutMk cId="2922402543" sldId="2147483803"/>
              <ac:spMk id="3"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2922402543" sldId="2147483803"/>
              <ac:spMk id="8"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2922402543" sldId="2147483803"/>
              <ac:spMk id="9"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2922402543" sldId="2147483803"/>
              <ac:spMk id="10"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2922402543" sldId="2147483803"/>
              <ac:spMk id="11"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4092798767" sldId="2147483800"/>
              <pc:sldLayoutMk cId="2922402543" sldId="2147483803"/>
              <ac:picMk id="13"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4092798767" sldId="2147483800"/>
            <pc:sldLayoutMk cId="4076942160" sldId="2147483804"/>
          </pc:sldLayoutMkLst>
          <pc:spChg chg="mod">
            <ac:chgData name="Hagino, Mayu [JANJP]" userId="S::mhagino3@its.jnj.com::90699482-6b3e-479f-aef9-5595debdc6d5" providerId="AD" clId="Web-{F44FE3C1-A7DA-9367-B49D-9D736C5193B6}" dt="2019-11-12T08:50:05.835" v="0"/>
            <ac:spMkLst>
              <pc:docMk/>
              <pc:sldMasterMk cId="4092798767" sldId="2147483800"/>
              <pc:sldLayoutMk cId="4076942160" sldId="2147483804"/>
              <ac:spMk id="4"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4076942160" sldId="2147483804"/>
              <ac:spMk id="5" creationId="{00000000-0000-0000-0000-000000000000}"/>
            </ac:spMkLst>
          </pc:spChg>
        </pc:sldLayoutChg>
        <pc:sldLayoutChg chg="modSp">
          <pc:chgData name="Hagino, Mayu [JANJP]" userId="S::mhagino3@its.jnj.com::90699482-6b3e-479f-aef9-5595debdc6d5" providerId="AD" clId="Web-{F44FE3C1-A7DA-9367-B49D-9D736C5193B6}" dt="2019-11-12T08:50:05.835" v="0"/>
          <pc:sldLayoutMkLst>
            <pc:docMk/>
            <pc:sldMasterMk cId="4092798767" sldId="2147483800"/>
            <pc:sldLayoutMk cId="2410051370" sldId="2147483805"/>
          </pc:sldLayoutMkLst>
          <pc:spChg chg="mod">
            <ac:chgData name="Hagino, Mayu [JANJP]" userId="S::mhagino3@its.jnj.com::90699482-6b3e-479f-aef9-5595debdc6d5" providerId="AD" clId="Web-{F44FE3C1-A7DA-9367-B49D-9D736C5193B6}" dt="2019-11-12T08:50:05.835" v="0"/>
            <ac:spMkLst>
              <pc:docMk/>
              <pc:sldMasterMk cId="4092798767" sldId="2147483800"/>
              <pc:sldLayoutMk cId="2410051370" sldId="2147483805"/>
              <ac:spMk id="4"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2410051370" sldId="2147483805"/>
              <ac:spMk id="5"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2410051370" sldId="2147483805"/>
              <ac:spMk id="6"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2410051370" sldId="2147483805"/>
              <ac:spMk id="7"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4092798767" sldId="2147483800"/>
              <pc:sldLayoutMk cId="2410051370" sldId="2147483805"/>
              <ac:picMk id="8"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4092798767" sldId="2147483800"/>
            <pc:sldLayoutMk cId="3940932749" sldId="2147483806"/>
          </pc:sldLayoutMkLst>
          <pc:spChg chg="mod">
            <ac:chgData name="Hagino, Mayu [JANJP]" userId="S::mhagino3@its.jnj.com::90699482-6b3e-479f-aef9-5595debdc6d5" providerId="AD" clId="Web-{F44FE3C1-A7DA-9367-B49D-9D736C5193B6}" dt="2019-11-12T08:50:05.835" v="0"/>
            <ac:spMkLst>
              <pc:docMk/>
              <pc:sldMasterMk cId="4092798767" sldId="2147483800"/>
              <pc:sldLayoutMk cId="3940932749" sldId="2147483806"/>
              <ac:spMk id="4"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3940932749" sldId="2147483806"/>
              <ac:spMk id="5"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3940932749" sldId="2147483806"/>
              <ac:spMk id="9"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3940932749" sldId="2147483806"/>
              <ac:spMk id="11"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4092798767" sldId="2147483800"/>
              <pc:sldLayoutMk cId="3940932749" sldId="2147483806"/>
              <ac:picMk id="7"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4092798767" sldId="2147483800"/>
            <pc:sldLayoutMk cId="3155271334" sldId="2147483808"/>
          </pc:sldLayoutMkLst>
          <pc:spChg chg="mod">
            <ac:chgData name="Hagino, Mayu [JANJP]" userId="S::mhagino3@its.jnj.com::90699482-6b3e-479f-aef9-5595debdc6d5" providerId="AD" clId="Web-{F44FE3C1-A7DA-9367-B49D-9D736C5193B6}" dt="2019-11-12T08:50:05.835" v="0"/>
            <ac:spMkLst>
              <pc:docMk/>
              <pc:sldMasterMk cId="4092798767" sldId="2147483800"/>
              <pc:sldLayoutMk cId="3155271334" sldId="2147483808"/>
              <ac:spMk id="2"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3155271334" sldId="2147483808"/>
              <ac:spMk id="9"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3155271334" sldId="2147483808"/>
              <ac:spMk id="10"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3155271334" sldId="2147483808"/>
              <ac:spMk id="14"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3155271334" sldId="2147483808"/>
              <ac:spMk id="16"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4092798767" sldId="2147483800"/>
              <pc:sldLayoutMk cId="3155271334" sldId="2147483808"/>
              <ac:picMk id="7" creationId="{00000000-0000-0000-0000-000000000000}"/>
            </ac:picMkLst>
          </pc:picChg>
        </pc:sldLayoutChg>
        <pc:sldLayoutChg chg="modSp">
          <pc:chgData name="Hagino, Mayu [JANJP]" userId="S::mhagino3@its.jnj.com::90699482-6b3e-479f-aef9-5595debdc6d5" providerId="AD" clId="Web-{F44FE3C1-A7DA-9367-B49D-9D736C5193B6}" dt="2019-11-12T08:50:05.835" v="0"/>
          <pc:sldLayoutMkLst>
            <pc:docMk/>
            <pc:sldMasterMk cId="4092798767" sldId="2147483800"/>
            <pc:sldLayoutMk cId="794173021" sldId="2147483809"/>
          </pc:sldLayoutMkLst>
          <pc:spChg chg="mod">
            <ac:chgData name="Hagino, Mayu [JANJP]" userId="S::mhagino3@its.jnj.com::90699482-6b3e-479f-aef9-5595debdc6d5" providerId="AD" clId="Web-{F44FE3C1-A7DA-9367-B49D-9D736C5193B6}" dt="2019-11-12T08:50:05.835" v="0"/>
            <ac:spMkLst>
              <pc:docMk/>
              <pc:sldMasterMk cId="4092798767" sldId="2147483800"/>
              <pc:sldLayoutMk cId="794173021" sldId="2147483809"/>
              <ac:spMk id="3"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794173021" sldId="2147483809"/>
              <ac:spMk id="4" creationId="{00000000-0000-0000-0000-000000000000}"/>
            </ac:spMkLst>
          </pc:spChg>
        </pc:sldLayoutChg>
        <pc:sldLayoutChg chg="modSp">
          <pc:chgData name="Hagino, Mayu [JANJP]" userId="S::mhagino3@its.jnj.com::90699482-6b3e-479f-aef9-5595debdc6d5" providerId="AD" clId="Web-{F44FE3C1-A7DA-9367-B49D-9D736C5193B6}" dt="2019-11-12T08:50:05.835" v="0"/>
          <pc:sldLayoutMkLst>
            <pc:docMk/>
            <pc:sldMasterMk cId="4092798767" sldId="2147483800"/>
            <pc:sldLayoutMk cId="406616654" sldId="2147483810"/>
          </pc:sldLayoutMkLst>
          <pc:spChg chg="mod">
            <ac:chgData name="Hagino, Mayu [JANJP]" userId="S::mhagino3@its.jnj.com::90699482-6b3e-479f-aef9-5595debdc6d5" providerId="AD" clId="Web-{F44FE3C1-A7DA-9367-B49D-9D736C5193B6}" dt="2019-11-12T08:50:05.835" v="0"/>
            <ac:spMkLst>
              <pc:docMk/>
              <pc:sldMasterMk cId="4092798767" sldId="2147483800"/>
              <pc:sldLayoutMk cId="406616654" sldId="2147483810"/>
              <ac:spMk id="4"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406616654" sldId="2147483810"/>
              <ac:spMk id="6" creationId="{00000000-0000-0000-0000-000000000000}"/>
            </ac:spMkLst>
          </pc:spChg>
          <pc:spChg chg="mod">
            <ac:chgData name="Hagino, Mayu [JANJP]" userId="S::mhagino3@its.jnj.com::90699482-6b3e-479f-aef9-5595debdc6d5" providerId="AD" clId="Web-{F44FE3C1-A7DA-9367-B49D-9D736C5193B6}" dt="2019-11-12T08:50:05.835" v="0"/>
            <ac:spMkLst>
              <pc:docMk/>
              <pc:sldMasterMk cId="4092798767" sldId="2147483800"/>
              <pc:sldLayoutMk cId="406616654" sldId="2147483810"/>
              <ac:spMk id="11" creationId="{00000000-0000-0000-0000-000000000000}"/>
            </ac:spMkLst>
          </pc:spChg>
        </pc:sldLayoutChg>
      </pc:sldMasterChg>
      <pc:sldMasterChg chg="modSp del delSldLayout modSldLayout">
        <pc:chgData name="Hagino, Mayu [JANJP]" userId="S::mhagino3@its.jnj.com::90699482-6b3e-479f-aef9-5595debdc6d5" providerId="AD" clId="Web-{F44FE3C1-A7DA-9367-B49D-9D736C5193B6}" dt="2019-11-12T08:50:05.913" v="1"/>
        <pc:sldMasterMkLst>
          <pc:docMk/>
          <pc:sldMasterMk cId="266463220" sldId="2147483814"/>
        </pc:sldMasterMkLst>
        <pc:spChg chg="mod">
          <ac:chgData name="Hagino, Mayu [JANJP]" userId="S::mhagino3@its.jnj.com::90699482-6b3e-479f-aef9-5595debdc6d5" providerId="AD" clId="Web-{F44FE3C1-A7DA-9367-B49D-9D736C5193B6}" dt="2019-11-12T08:50:05.835" v="0"/>
          <ac:spMkLst>
            <pc:docMk/>
            <pc:sldMasterMk cId="266463220" sldId="2147483814"/>
            <ac:spMk id="2" creationId="{DDEDB24E-5F0E-40BC-B767-2834181FB7D4}"/>
          </ac:spMkLst>
        </pc:spChg>
        <pc:spChg chg="mod">
          <ac:chgData name="Hagino, Mayu [JANJP]" userId="S::mhagino3@its.jnj.com::90699482-6b3e-479f-aef9-5595debdc6d5" providerId="AD" clId="Web-{F44FE3C1-A7DA-9367-B49D-9D736C5193B6}" dt="2019-11-12T08:50:05.835" v="0"/>
          <ac:spMkLst>
            <pc:docMk/>
            <pc:sldMasterMk cId="266463220" sldId="2147483814"/>
            <ac:spMk id="3" creationId="{FAFB470F-F268-4940-99A3-A62ABC788758}"/>
          </ac:spMkLst>
        </pc:spChg>
        <pc:spChg chg="mod">
          <ac:chgData name="Hagino, Mayu [JANJP]" userId="S::mhagino3@its.jnj.com::90699482-6b3e-479f-aef9-5595debdc6d5" providerId="AD" clId="Web-{F44FE3C1-A7DA-9367-B49D-9D736C5193B6}" dt="2019-11-12T08:50:05.835" v="0"/>
          <ac:spMkLst>
            <pc:docMk/>
            <pc:sldMasterMk cId="266463220" sldId="2147483814"/>
            <ac:spMk id="4" creationId="{A6BEB050-1E7D-4797-9ECB-DB0EEAE99A77}"/>
          </ac:spMkLst>
        </pc:spChg>
        <pc:spChg chg="mod">
          <ac:chgData name="Hagino, Mayu [JANJP]" userId="S::mhagino3@its.jnj.com::90699482-6b3e-479f-aef9-5595debdc6d5" providerId="AD" clId="Web-{F44FE3C1-A7DA-9367-B49D-9D736C5193B6}" dt="2019-11-12T08:50:05.835" v="0"/>
          <ac:spMkLst>
            <pc:docMk/>
            <pc:sldMasterMk cId="266463220" sldId="2147483814"/>
            <ac:spMk id="5" creationId="{0149BEB8-6A6F-4C6E-A697-968D163F0057}"/>
          </ac:spMkLst>
        </pc:spChg>
        <pc:spChg chg="mod">
          <ac:chgData name="Hagino, Mayu [JANJP]" userId="S::mhagino3@its.jnj.com::90699482-6b3e-479f-aef9-5595debdc6d5" providerId="AD" clId="Web-{F44FE3C1-A7DA-9367-B49D-9D736C5193B6}" dt="2019-11-12T08:50:05.835" v="0"/>
          <ac:spMkLst>
            <pc:docMk/>
            <pc:sldMasterMk cId="266463220" sldId="2147483814"/>
            <ac:spMk id="6" creationId="{2D2B5830-A405-4FCB-8FDD-BA2C9B0861B0}"/>
          </ac:spMkLst>
        </pc:spChg>
        <pc:picChg chg="mod">
          <ac:chgData name="Hagino, Mayu [JANJP]" userId="S::mhagino3@its.jnj.com::90699482-6b3e-479f-aef9-5595debdc6d5" providerId="AD" clId="Web-{F44FE3C1-A7DA-9367-B49D-9D736C5193B6}" dt="2019-11-12T08:50:05.835" v="0"/>
          <ac:picMkLst>
            <pc:docMk/>
            <pc:sldMasterMk cId="266463220" sldId="2147483814"/>
            <ac:picMk id="7" creationId="{688BA833-C401-4FE7-9CB2-31949066566E}"/>
          </ac:picMkLst>
        </pc:picChg>
        <pc:picChg chg="mod">
          <ac:chgData name="Hagino, Mayu [JANJP]" userId="S::mhagino3@its.jnj.com::90699482-6b3e-479f-aef9-5595debdc6d5" providerId="AD" clId="Web-{F44FE3C1-A7DA-9367-B49D-9D736C5193B6}" dt="2019-11-12T08:50:05.835" v="0"/>
          <ac:picMkLst>
            <pc:docMk/>
            <pc:sldMasterMk cId="266463220" sldId="2147483814"/>
            <ac:picMk id="8" creationId="{C100E8A0-29CA-49D6-9519-3B9F0DC2F150}"/>
          </ac:picMkLst>
        </pc:picChg>
        <pc:sldLayoutChg chg="del">
          <pc:chgData name="Hagino, Mayu [JANJP]" userId="S::mhagino3@its.jnj.com::90699482-6b3e-479f-aef9-5595debdc6d5" providerId="AD" clId="Web-{F44FE3C1-A7DA-9367-B49D-9D736C5193B6}" dt="2019-11-12T08:50:05.913" v="1"/>
          <pc:sldLayoutMkLst>
            <pc:docMk/>
            <pc:sldMasterMk cId="266463220" sldId="2147483814"/>
            <pc:sldLayoutMk cId="651706361" sldId="2147483744"/>
          </pc:sldLayoutMkLst>
        </pc:sldLayoutChg>
        <pc:sldLayoutChg chg="modSp del">
          <pc:chgData name="Hagino, Mayu [JANJP]" userId="S::mhagino3@its.jnj.com::90699482-6b3e-479f-aef9-5595debdc6d5" providerId="AD" clId="Web-{F44FE3C1-A7DA-9367-B49D-9D736C5193B6}" dt="2019-11-12T08:50:05.913" v="1"/>
          <pc:sldLayoutMkLst>
            <pc:docMk/>
            <pc:sldMasterMk cId="266463220" sldId="2147483814"/>
            <pc:sldLayoutMk cId="2076843355" sldId="2147483746"/>
          </pc:sldLayoutMkLst>
          <pc:spChg chg="mod">
            <ac:chgData name="Hagino, Mayu [JANJP]" userId="S::mhagino3@its.jnj.com::90699482-6b3e-479f-aef9-5595debdc6d5" providerId="AD" clId="Web-{F44FE3C1-A7DA-9367-B49D-9D736C5193B6}" dt="2019-11-12T08:50:05.835" v="0"/>
            <ac:spMkLst>
              <pc:docMk/>
              <pc:sldMasterMk cId="266463220" sldId="2147483814"/>
              <pc:sldLayoutMk cId="2076843355" sldId="2147483746"/>
              <ac:spMk id="5"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266463220" sldId="2147483814"/>
              <pc:sldLayoutMk cId="2076843355" sldId="2147483746"/>
              <ac:picMk id="6" creationId="{00000000-0000-0000-0000-000000000000}"/>
            </ac:picMkLst>
          </pc:picChg>
        </pc:sldLayoutChg>
        <pc:sldLayoutChg chg="del">
          <pc:chgData name="Hagino, Mayu [JANJP]" userId="S::mhagino3@its.jnj.com::90699482-6b3e-479f-aef9-5595debdc6d5" providerId="AD" clId="Web-{F44FE3C1-A7DA-9367-B49D-9D736C5193B6}" dt="2019-11-12T08:50:05.913" v="1"/>
          <pc:sldLayoutMkLst>
            <pc:docMk/>
            <pc:sldMasterMk cId="266463220" sldId="2147483814"/>
            <pc:sldLayoutMk cId="387973602" sldId="2147483753"/>
          </pc:sldLayoutMkLst>
        </pc:sldLayoutChg>
        <pc:sldLayoutChg chg="modSp del">
          <pc:chgData name="Hagino, Mayu [JANJP]" userId="S::mhagino3@its.jnj.com::90699482-6b3e-479f-aef9-5595debdc6d5" providerId="AD" clId="Web-{F44FE3C1-A7DA-9367-B49D-9D736C5193B6}" dt="2019-11-12T08:50:05.913" v="1"/>
          <pc:sldLayoutMkLst>
            <pc:docMk/>
            <pc:sldMasterMk cId="266463220" sldId="2147483814"/>
            <pc:sldLayoutMk cId="1821036798" sldId="2147483755"/>
          </pc:sldLayoutMkLst>
          <pc:spChg chg="mod">
            <ac:chgData name="Hagino, Mayu [JANJP]" userId="S::mhagino3@its.jnj.com::90699482-6b3e-479f-aef9-5595debdc6d5" providerId="AD" clId="Web-{F44FE3C1-A7DA-9367-B49D-9D736C5193B6}" dt="2019-11-12T08:50:05.835" v="0"/>
            <ac:spMkLst>
              <pc:docMk/>
              <pc:sldMasterMk cId="266463220" sldId="2147483814"/>
              <pc:sldLayoutMk cId="1821036798" sldId="2147483755"/>
              <ac:spMk id="5" creationId="{00000000-0000-0000-0000-000000000000}"/>
            </ac:spMkLst>
          </pc:spChg>
        </pc:sldLayoutChg>
        <pc:sldLayoutChg chg="modSp del">
          <pc:chgData name="Hagino, Mayu [JANJP]" userId="S::mhagino3@its.jnj.com::90699482-6b3e-479f-aef9-5595debdc6d5" providerId="AD" clId="Web-{F44FE3C1-A7DA-9367-B49D-9D736C5193B6}" dt="2019-11-12T08:50:05.913" v="1"/>
          <pc:sldLayoutMkLst>
            <pc:docMk/>
            <pc:sldMasterMk cId="266463220" sldId="2147483814"/>
            <pc:sldLayoutMk cId="375580145" sldId="2147483815"/>
          </pc:sldLayoutMkLst>
          <pc:spChg chg="mod">
            <ac:chgData name="Hagino, Mayu [JANJP]" userId="S::mhagino3@its.jnj.com::90699482-6b3e-479f-aef9-5595debdc6d5" providerId="AD" clId="Web-{F44FE3C1-A7DA-9367-B49D-9D736C5193B6}" dt="2019-11-12T08:50:05.835" v="0"/>
            <ac:spMkLst>
              <pc:docMk/>
              <pc:sldMasterMk cId="266463220" sldId="2147483814"/>
              <pc:sldLayoutMk cId="375580145" sldId="2147483815"/>
              <ac:spMk id="2" creationId="{2C285981-8785-49A1-8A53-FF7880AF2262}"/>
            </ac:spMkLst>
          </pc:spChg>
          <pc:spChg chg="mod">
            <ac:chgData name="Hagino, Mayu [JANJP]" userId="S::mhagino3@its.jnj.com::90699482-6b3e-479f-aef9-5595debdc6d5" providerId="AD" clId="Web-{F44FE3C1-A7DA-9367-B49D-9D736C5193B6}" dt="2019-11-12T08:50:05.835" v="0"/>
            <ac:spMkLst>
              <pc:docMk/>
              <pc:sldMasterMk cId="266463220" sldId="2147483814"/>
              <pc:sldLayoutMk cId="375580145" sldId="2147483815"/>
              <ac:spMk id="3" creationId="{92DFECE8-586C-4669-9334-30144E59AF56}"/>
            </ac:spMkLst>
          </pc:spChg>
        </pc:sldLayoutChg>
        <pc:sldLayoutChg chg="del">
          <pc:chgData name="Hagino, Mayu [JANJP]" userId="S::mhagino3@its.jnj.com::90699482-6b3e-479f-aef9-5595debdc6d5" providerId="AD" clId="Web-{F44FE3C1-A7DA-9367-B49D-9D736C5193B6}" dt="2019-11-12T08:50:05.913" v="1"/>
          <pc:sldLayoutMkLst>
            <pc:docMk/>
            <pc:sldMasterMk cId="266463220" sldId="2147483814"/>
            <pc:sldLayoutMk cId="3647316860" sldId="2147483816"/>
          </pc:sldLayoutMkLst>
        </pc:sldLayoutChg>
        <pc:sldLayoutChg chg="modSp del">
          <pc:chgData name="Hagino, Mayu [JANJP]" userId="S::mhagino3@its.jnj.com::90699482-6b3e-479f-aef9-5595debdc6d5" providerId="AD" clId="Web-{F44FE3C1-A7DA-9367-B49D-9D736C5193B6}" dt="2019-11-12T08:50:05.913" v="1"/>
          <pc:sldLayoutMkLst>
            <pc:docMk/>
            <pc:sldMasterMk cId="266463220" sldId="2147483814"/>
            <pc:sldLayoutMk cId="1789939128" sldId="2147483817"/>
          </pc:sldLayoutMkLst>
          <pc:spChg chg="mod">
            <ac:chgData name="Hagino, Mayu [JANJP]" userId="S::mhagino3@its.jnj.com::90699482-6b3e-479f-aef9-5595debdc6d5" providerId="AD" clId="Web-{F44FE3C1-A7DA-9367-B49D-9D736C5193B6}" dt="2019-11-12T08:50:05.835" v="0"/>
            <ac:spMkLst>
              <pc:docMk/>
              <pc:sldMasterMk cId="266463220" sldId="2147483814"/>
              <pc:sldLayoutMk cId="1789939128" sldId="2147483817"/>
              <ac:spMk id="2" creationId="{8B2D0780-9C3A-4043-B6AA-E03F3BAC02B4}"/>
            </ac:spMkLst>
          </pc:spChg>
          <pc:spChg chg="mod">
            <ac:chgData name="Hagino, Mayu [JANJP]" userId="S::mhagino3@its.jnj.com::90699482-6b3e-479f-aef9-5595debdc6d5" providerId="AD" clId="Web-{F44FE3C1-A7DA-9367-B49D-9D736C5193B6}" dt="2019-11-12T08:50:05.835" v="0"/>
            <ac:spMkLst>
              <pc:docMk/>
              <pc:sldMasterMk cId="266463220" sldId="2147483814"/>
              <pc:sldLayoutMk cId="1789939128" sldId="2147483817"/>
              <ac:spMk id="3" creationId="{0DA1DD2A-F7F8-41FB-AC9A-A03E583F6A95}"/>
            </ac:spMkLst>
          </pc:spChg>
        </pc:sldLayoutChg>
        <pc:sldLayoutChg chg="modSp del">
          <pc:chgData name="Hagino, Mayu [JANJP]" userId="S::mhagino3@its.jnj.com::90699482-6b3e-479f-aef9-5595debdc6d5" providerId="AD" clId="Web-{F44FE3C1-A7DA-9367-B49D-9D736C5193B6}" dt="2019-11-12T08:50:05.913" v="1"/>
          <pc:sldLayoutMkLst>
            <pc:docMk/>
            <pc:sldMasterMk cId="266463220" sldId="2147483814"/>
            <pc:sldLayoutMk cId="637699541" sldId="2147483818"/>
          </pc:sldLayoutMkLst>
          <pc:spChg chg="mod">
            <ac:chgData name="Hagino, Mayu [JANJP]" userId="S::mhagino3@its.jnj.com::90699482-6b3e-479f-aef9-5595debdc6d5" providerId="AD" clId="Web-{F44FE3C1-A7DA-9367-B49D-9D736C5193B6}" dt="2019-11-12T08:50:05.835" v="0"/>
            <ac:spMkLst>
              <pc:docMk/>
              <pc:sldMasterMk cId="266463220" sldId="2147483814"/>
              <pc:sldLayoutMk cId="637699541" sldId="2147483818"/>
              <ac:spMk id="3" creationId="{1DD5EE74-F3FF-4A08-981E-FD0654563822}"/>
            </ac:spMkLst>
          </pc:spChg>
          <pc:spChg chg="mod">
            <ac:chgData name="Hagino, Mayu [JANJP]" userId="S::mhagino3@its.jnj.com::90699482-6b3e-479f-aef9-5595debdc6d5" providerId="AD" clId="Web-{F44FE3C1-A7DA-9367-B49D-9D736C5193B6}" dt="2019-11-12T08:50:05.835" v="0"/>
            <ac:spMkLst>
              <pc:docMk/>
              <pc:sldMasterMk cId="266463220" sldId="2147483814"/>
              <pc:sldLayoutMk cId="637699541" sldId="2147483818"/>
              <ac:spMk id="4" creationId="{C6364650-52A0-4294-A0B5-D3D2B8BD2AB8}"/>
            </ac:spMkLst>
          </pc:spChg>
        </pc:sldLayoutChg>
        <pc:sldLayoutChg chg="modSp del">
          <pc:chgData name="Hagino, Mayu [JANJP]" userId="S::mhagino3@its.jnj.com::90699482-6b3e-479f-aef9-5595debdc6d5" providerId="AD" clId="Web-{F44FE3C1-A7DA-9367-B49D-9D736C5193B6}" dt="2019-11-12T08:50:05.913" v="1"/>
          <pc:sldLayoutMkLst>
            <pc:docMk/>
            <pc:sldMasterMk cId="266463220" sldId="2147483814"/>
            <pc:sldLayoutMk cId="3383445063" sldId="2147483819"/>
          </pc:sldLayoutMkLst>
          <pc:spChg chg="mod">
            <ac:chgData name="Hagino, Mayu [JANJP]" userId="S::mhagino3@its.jnj.com::90699482-6b3e-479f-aef9-5595debdc6d5" providerId="AD" clId="Web-{F44FE3C1-A7DA-9367-B49D-9D736C5193B6}" dt="2019-11-12T08:50:05.835" v="0"/>
            <ac:spMkLst>
              <pc:docMk/>
              <pc:sldMasterMk cId="266463220" sldId="2147483814"/>
              <pc:sldLayoutMk cId="3383445063" sldId="2147483819"/>
              <ac:spMk id="2" creationId="{A22332D7-F77F-4412-851E-912D36922E9D}"/>
            </ac:spMkLst>
          </pc:spChg>
          <pc:spChg chg="mod">
            <ac:chgData name="Hagino, Mayu [JANJP]" userId="S::mhagino3@its.jnj.com::90699482-6b3e-479f-aef9-5595debdc6d5" providerId="AD" clId="Web-{F44FE3C1-A7DA-9367-B49D-9D736C5193B6}" dt="2019-11-12T08:50:05.835" v="0"/>
            <ac:spMkLst>
              <pc:docMk/>
              <pc:sldMasterMk cId="266463220" sldId="2147483814"/>
              <pc:sldLayoutMk cId="3383445063" sldId="2147483819"/>
              <ac:spMk id="3" creationId="{D949C08F-E553-453F-8A7C-A7D3D463AA6F}"/>
            </ac:spMkLst>
          </pc:spChg>
          <pc:spChg chg="mod">
            <ac:chgData name="Hagino, Mayu [JANJP]" userId="S::mhagino3@its.jnj.com::90699482-6b3e-479f-aef9-5595debdc6d5" providerId="AD" clId="Web-{F44FE3C1-A7DA-9367-B49D-9D736C5193B6}" dt="2019-11-12T08:50:05.835" v="0"/>
            <ac:spMkLst>
              <pc:docMk/>
              <pc:sldMasterMk cId="266463220" sldId="2147483814"/>
              <pc:sldLayoutMk cId="3383445063" sldId="2147483819"/>
              <ac:spMk id="4" creationId="{8F2D7FD1-8EA5-4031-AD89-AEABBBB05412}"/>
            </ac:spMkLst>
          </pc:spChg>
          <pc:spChg chg="mod">
            <ac:chgData name="Hagino, Mayu [JANJP]" userId="S::mhagino3@its.jnj.com::90699482-6b3e-479f-aef9-5595debdc6d5" providerId="AD" clId="Web-{F44FE3C1-A7DA-9367-B49D-9D736C5193B6}" dt="2019-11-12T08:50:05.835" v="0"/>
            <ac:spMkLst>
              <pc:docMk/>
              <pc:sldMasterMk cId="266463220" sldId="2147483814"/>
              <pc:sldLayoutMk cId="3383445063" sldId="2147483819"/>
              <ac:spMk id="5" creationId="{0D73EA4D-E567-48BE-B0A5-F0ED48CBAF68}"/>
            </ac:spMkLst>
          </pc:spChg>
          <pc:spChg chg="mod">
            <ac:chgData name="Hagino, Mayu [JANJP]" userId="S::mhagino3@its.jnj.com::90699482-6b3e-479f-aef9-5595debdc6d5" providerId="AD" clId="Web-{F44FE3C1-A7DA-9367-B49D-9D736C5193B6}" dt="2019-11-12T08:50:05.835" v="0"/>
            <ac:spMkLst>
              <pc:docMk/>
              <pc:sldMasterMk cId="266463220" sldId="2147483814"/>
              <pc:sldLayoutMk cId="3383445063" sldId="2147483819"/>
              <ac:spMk id="6" creationId="{117377CB-EF9D-48A5-879F-F62FD97CF2FE}"/>
            </ac:spMkLst>
          </pc:spChg>
        </pc:sldLayoutChg>
        <pc:sldLayoutChg chg="del">
          <pc:chgData name="Hagino, Mayu [JANJP]" userId="S::mhagino3@its.jnj.com::90699482-6b3e-479f-aef9-5595debdc6d5" providerId="AD" clId="Web-{F44FE3C1-A7DA-9367-B49D-9D736C5193B6}" dt="2019-11-12T08:50:05.913" v="1"/>
          <pc:sldLayoutMkLst>
            <pc:docMk/>
            <pc:sldMasterMk cId="266463220" sldId="2147483814"/>
            <pc:sldLayoutMk cId="3408441703" sldId="2147483820"/>
          </pc:sldLayoutMkLst>
        </pc:sldLayoutChg>
        <pc:sldLayoutChg chg="del">
          <pc:chgData name="Hagino, Mayu [JANJP]" userId="S::mhagino3@its.jnj.com::90699482-6b3e-479f-aef9-5595debdc6d5" providerId="AD" clId="Web-{F44FE3C1-A7DA-9367-B49D-9D736C5193B6}" dt="2019-11-12T08:50:05.913" v="1"/>
          <pc:sldLayoutMkLst>
            <pc:docMk/>
            <pc:sldMasterMk cId="266463220" sldId="2147483814"/>
            <pc:sldLayoutMk cId="724644308" sldId="2147483821"/>
          </pc:sldLayoutMkLst>
        </pc:sldLayoutChg>
        <pc:sldLayoutChg chg="modSp del">
          <pc:chgData name="Hagino, Mayu [JANJP]" userId="S::mhagino3@its.jnj.com::90699482-6b3e-479f-aef9-5595debdc6d5" providerId="AD" clId="Web-{F44FE3C1-A7DA-9367-B49D-9D736C5193B6}" dt="2019-11-12T08:50:05.913" v="1"/>
          <pc:sldLayoutMkLst>
            <pc:docMk/>
            <pc:sldMasterMk cId="266463220" sldId="2147483814"/>
            <pc:sldLayoutMk cId="1925614711" sldId="2147483822"/>
          </pc:sldLayoutMkLst>
          <pc:spChg chg="mod">
            <ac:chgData name="Hagino, Mayu [JANJP]" userId="S::mhagino3@its.jnj.com::90699482-6b3e-479f-aef9-5595debdc6d5" providerId="AD" clId="Web-{F44FE3C1-A7DA-9367-B49D-9D736C5193B6}" dt="2019-11-12T08:50:05.835" v="0"/>
            <ac:spMkLst>
              <pc:docMk/>
              <pc:sldMasterMk cId="266463220" sldId="2147483814"/>
              <pc:sldLayoutMk cId="1925614711" sldId="2147483822"/>
              <ac:spMk id="2" creationId="{306489C0-E83A-4FD2-A626-6C998C7101D1}"/>
            </ac:spMkLst>
          </pc:spChg>
          <pc:spChg chg="mod">
            <ac:chgData name="Hagino, Mayu [JANJP]" userId="S::mhagino3@its.jnj.com::90699482-6b3e-479f-aef9-5595debdc6d5" providerId="AD" clId="Web-{F44FE3C1-A7DA-9367-B49D-9D736C5193B6}" dt="2019-11-12T08:50:05.835" v="0"/>
            <ac:spMkLst>
              <pc:docMk/>
              <pc:sldMasterMk cId="266463220" sldId="2147483814"/>
              <pc:sldLayoutMk cId="1925614711" sldId="2147483822"/>
              <ac:spMk id="3" creationId="{C80F2646-3201-4A96-A727-FF07F663291B}"/>
            </ac:spMkLst>
          </pc:spChg>
          <pc:spChg chg="mod">
            <ac:chgData name="Hagino, Mayu [JANJP]" userId="S::mhagino3@its.jnj.com::90699482-6b3e-479f-aef9-5595debdc6d5" providerId="AD" clId="Web-{F44FE3C1-A7DA-9367-B49D-9D736C5193B6}" dt="2019-11-12T08:50:05.835" v="0"/>
            <ac:spMkLst>
              <pc:docMk/>
              <pc:sldMasterMk cId="266463220" sldId="2147483814"/>
              <pc:sldLayoutMk cId="1925614711" sldId="2147483822"/>
              <ac:spMk id="4" creationId="{3559DA7C-E1C9-41D7-AAAC-CD5600E6A162}"/>
            </ac:spMkLst>
          </pc:spChg>
        </pc:sldLayoutChg>
        <pc:sldLayoutChg chg="modSp del">
          <pc:chgData name="Hagino, Mayu [JANJP]" userId="S::mhagino3@its.jnj.com::90699482-6b3e-479f-aef9-5595debdc6d5" providerId="AD" clId="Web-{F44FE3C1-A7DA-9367-B49D-9D736C5193B6}" dt="2019-11-12T08:50:05.913" v="1"/>
          <pc:sldLayoutMkLst>
            <pc:docMk/>
            <pc:sldMasterMk cId="266463220" sldId="2147483814"/>
            <pc:sldLayoutMk cId="1792971528" sldId="2147483823"/>
          </pc:sldLayoutMkLst>
          <pc:spChg chg="mod">
            <ac:chgData name="Hagino, Mayu [JANJP]" userId="S::mhagino3@its.jnj.com::90699482-6b3e-479f-aef9-5595debdc6d5" providerId="AD" clId="Web-{F44FE3C1-A7DA-9367-B49D-9D736C5193B6}" dt="2019-11-12T08:50:05.835" v="0"/>
            <ac:spMkLst>
              <pc:docMk/>
              <pc:sldMasterMk cId="266463220" sldId="2147483814"/>
              <pc:sldLayoutMk cId="1792971528" sldId="2147483823"/>
              <ac:spMk id="2" creationId="{0A780611-DB20-48A2-99A7-078454D39944}"/>
            </ac:spMkLst>
          </pc:spChg>
          <pc:spChg chg="mod">
            <ac:chgData name="Hagino, Mayu [JANJP]" userId="S::mhagino3@its.jnj.com::90699482-6b3e-479f-aef9-5595debdc6d5" providerId="AD" clId="Web-{F44FE3C1-A7DA-9367-B49D-9D736C5193B6}" dt="2019-11-12T08:50:05.835" v="0"/>
            <ac:spMkLst>
              <pc:docMk/>
              <pc:sldMasterMk cId="266463220" sldId="2147483814"/>
              <pc:sldLayoutMk cId="1792971528" sldId="2147483823"/>
              <ac:spMk id="3" creationId="{D9997642-8B98-4D22-B7A8-F0AEFBB73159}"/>
            </ac:spMkLst>
          </pc:spChg>
          <pc:spChg chg="mod">
            <ac:chgData name="Hagino, Mayu [JANJP]" userId="S::mhagino3@its.jnj.com::90699482-6b3e-479f-aef9-5595debdc6d5" providerId="AD" clId="Web-{F44FE3C1-A7DA-9367-B49D-9D736C5193B6}" dt="2019-11-12T08:50:05.835" v="0"/>
            <ac:spMkLst>
              <pc:docMk/>
              <pc:sldMasterMk cId="266463220" sldId="2147483814"/>
              <pc:sldLayoutMk cId="1792971528" sldId="2147483823"/>
              <ac:spMk id="4" creationId="{E3BF998F-24D7-40C3-9C9C-A95CCA9D1913}"/>
            </ac:spMkLst>
          </pc:spChg>
        </pc:sldLayoutChg>
        <pc:sldLayoutChg chg="del">
          <pc:chgData name="Hagino, Mayu [JANJP]" userId="S::mhagino3@its.jnj.com::90699482-6b3e-479f-aef9-5595debdc6d5" providerId="AD" clId="Web-{F44FE3C1-A7DA-9367-B49D-9D736C5193B6}" dt="2019-11-12T08:50:05.913" v="1"/>
          <pc:sldLayoutMkLst>
            <pc:docMk/>
            <pc:sldMasterMk cId="266463220" sldId="2147483814"/>
            <pc:sldLayoutMk cId="4262043570" sldId="2147483824"/>
          </pc:sldLayoutMkLst>
        </pc:sldLayoutChg>
        <pc:sldLayoutChg chg="modSp del">
          <pc:chgData name="Hagino, Mayu [JANJP]" userId="S::mhagino3@its.jnj.com::90699482-6b3e-479f-aef9-5595debdc6d5" providerId="AD" clId="Web-{F44FE3C1-A7DA-9367-B49D-9D736C5193B6}" dt="2019-11-12T08:50:05.913" v="1"/>
          <pc:sldLayoutMkLst>
            <pc:docMk/>
            <pc:sldMasterMk cId="266463220" sldId="2147483814"/>
            <pc:sldLayoutMk cId="2832629005" sldId="2147483825"/>
          </pc:sldLayoutMkLst>
          <pc:spChg chg="mod">
            <ac:chgData name="Hagino, Mayu [JANJP]" userId="S::mhagino3@its.jnj.com::90699482-6b3e-479f-aef9-5595debdc6d5" providerId="AD" clId="Web-{F44FE3C1-A7DA-9367-B49D-9D736C5193B6}" dt="2019-11-12T08:50:05.835" v="0"/>
            <ac:spMkLst>
              <pc:docMk/>
              <pc:sldMasterMk cId="266463220" sldId="2147483814"/>
              <pc:sldLayoutMk cId="2832629005" sldId="2147483825"/>
              <ac:spMk id="2" creationId="{39671ED2-B380-49B1-B343-1AE8E72D860F}"/>
            </ac:spMkLst>
          </pc:spChg>
          <pc:spChg chg="mod">
            <ac:chgData name="Hagino, Mayu [JANJP]" userId="S::mhagino3@its.jnj.com::90699482-6b3e-479f-aef9-5595debdc6d5" providerId="AD" clId="Web-{F44FE3C1-A7DA-9367-B49D-9D736C5193B6}" dt="2019-11-12T08:50:05.835" v="0"/>
            <ac:spMkLst>
              <pc:docMk/>
              <pc:sldMasterMk cId="266463220" sldId="2147483814"/>
              <pc:sldLayoutMk cId="2832629005" sldId="2147483825"/>
              <ac:spMk id="3" creationId="{4CD86FC9-63D1-423C-8D70-0441911944CE}"/>
            </ac:spMkLst>
          </pc:spChg>
        </pc:sldLayoutChg>
        <pc:sldLayoutChg chg="modSp del">
          <pc:chgData name="Hagino, Mayu [JANJP]" userId="S::mhagino3@its.jnj.com::90699482-6b3e-479f-aef9-5595debdc6d5" providerId="AD" clId="Web-{F44FE3C1-A7DA-9367-B49D-9D736C5193B6}" dt="2019-11-12T08:50:05.913" v="1"/>
          <pc:sldLayoutMkLst>
            <pc:docMk/>
            <pc:sldMasterMk cId="266463220" sldId="2147483814"/>
            <pc:sldLayoutMk cId="4209775592" sldId="2147483826"/>
          </pc:sldLayoutMkLst>
          <pc:spChg chg="mod">
            <ac:chgData name="Hagino, Mayu [JANJP]" userId="S::mhagino3@its.jnj.com::90699482-6b3e-479f-aef9-5595debdc6d5" providerId="AD" clId="Web-{F44FE3C1-A7DA-9367-B49D-9D736C5193B6}" dt="2019-11-12T08:50:05.835" v="0"/>
            <ac:spMkLst>
              <pc:docMk/>
              <pc:sldMasterMk cId="266463220" sldId="2147483814"/>
              <pc:sldLayoutMk cId="4209775592" sldId="2147483826"/>
              <ac:spMk id="11" creationId="{00000000-0000-0000-0000-000000000000}"/>
            </ac:spMkLst>
          </pc:spChg>
          <pc:spChg chg="mod">
            <ac:chgData name="Hagino, Mayu [JANJP]" userId="S::mhagino3@its.jnj.com::90699482-6b3e-479f-aef9-5595debdc6d5" providerId="AD" clId="Web-{F44FE3C1-A7DA-9367-B49D-9D736C5193B6}" dt="2019-11-12T08:50:05.835" v="0"/>
            <ac:spMkLst>
              <pc:docMk/>
              <pc:sldMasterMk cId="266463220" sldId="2147483814"/>
              <pc:sldLayoutMk cId="4209775592" sldId="2147483826"/>
              <ac:spMk id="12" creationId="{00000000-0000-0000-0000-000000000000}"/>
            </ac:spMkLst>
          </pc:spChg>
          <pc:spChg chg="mod">
            <ac:chgData name="Hagino, Mayu [JANJP]" userId="S::mhagino3@its.jnj.com::90699482-6b3e-479f-aef9-5595debdc6d5" providerId="AD" clId="Web-{F44FE3C1-A7DA-9367-B49D-9D736C5193B6}" dt="2019-11-12T08:50:05.835" v="0"/>
            <ac:spMkLst>
              <pc:docMk/>
              <pc:sldMasterMk cId="266463220" sldId="2147483814"/>
              <pc:sldLayoutMk cId="4209775592" sldId="2147483826"/>
              <ac:spMk id="13" creationId="{00000000-0000-0000-0000-000000000000}"/>
            </ac:spMkLst>
          </pc:spChg>
          <pc:picChg chg="mod">
            <ac:chgData name="Hagino, Mayu [JANJP]" userId="S::mhagino3@its.jnj.com::90699482-6b3e-479f-aef9-5595debdc6d5" providerId="AD" clId="Web-{F44FE3C1-A7DA-9367-B49D-9D736C5193B6}" dt="2019-11-12T08:50:05.835" v="0"/>
            <ac:picMkLst>
              <pc:docMk/>
              <pc:sldMasterMk cId="266463220" sldId="2147483814"/>
              <pc:sldLayoutMk cId="4209775592" sldId="2147483826"/>
              <ac:picMk id="9" creationId="{00000000-0000-0000-0000-000000000000}"/>
            </ac:picMkLst>
          </pc:picChg>
          <pc:picChg chg="mod">
            <ac:chgData name="Hagino, Mayu [JANJP]" userId="S::mhagino3@its.jnj.com::90699482-6b3e-479f-aef9-5595debdc6d5" providerId="AD" clId="Web-{F44FE3C1-A7DA-9367-B49D-9D736C5193B6}" dt="2019-11-12T08:50:05.835" v="0"/>
            <ac:picMkLst>
              <pc:docMk/>
              <pc:sldMasterMk cId="266463220" sldId="2147483814"/>
              <pc:sldLayoutMk cId="4209775592" sldId="2147483826"/>
              <ac:picMk id="10" creationId="{4EFDA912-4A3A-4200-84F6-8D841CD04EF3}"/>
            </ac:picMkLst>
          </pc:picChg>
        </pc:sldLayoutChg>
      </pc:sldMasterChg>
      <pc:sldMasterChg chg="add modTransition addSldLayout modSldLayout">
        <pc:chgData name="Hagino, Mayu [JANJP]" userId="S::mhagino3@its.jnj.com::90699482-6b3e-479f-aef9-5595debdc6d5" providerId="AD" clId="Web-{F44FE3C1-A7DA-9367-B49D-9D736C5193B6}" dt="2019-11-12T08:50:05.913" v="1"/>
        <pc:sldMasterMkLst>
          <pc:docMk/>
          <pc:sldMasterMk cId="2272551599" sldId="2147483827"/>
        </pc:sldMasterMkLst>
        <pc:sldLayoutChg chg="add mod replId">
          <pc:chgData name="Hagino, Mayu [JANJP]" userId="S::mhagino3@its.jnj.com::90699482-6b3e-479f-aef9-5595debdc6d5" providerId="AD" clId="Web-{F44FE3C1-A7DA-9367-B49D-9D736C5193B6}" dt="2019-11-12T08:50:05.913" v="1"/>
          <pc:sldLayoutMkLst>
            <pc:docMk/>
            <pc:sldMasterMk cId="2272551599" sldId="2147483827"/>
            <pc:sldLayoutMk cId="3723070519" sldId="2147483828"/>
          </pc:sldLayoutMkLst>
        </pc:sldLayoutChg>
        <pc:sldLayoutChg chg="add mod replId">
          <pc:chgData name="Hagino, Mayu [JANJP]" userId="S::mhagino3@its.jnj.com::90699482-6b3e-479f-aef9-5595debdc6d5" providerId="AD" clId="Web-{F44FE3C1-A7DA-9367-B49D-9D736C5193B6}" dt="2019-11-12T08:50:05.913" v="1"/>
          <pc:sldLayoutMkLst>
            <pc:docMk/>
            <pc:sldMasterMk cId="2272551599" sldId="2147483827"/>
            <pc:sldLayoutMk cId="2055316857" sldId="2147483829"/>
          </pc:sldLayoutMkLst>
        </pc:sldLayoutChg>
        <pc:sldLayoutChg chg="add mod replId">
          <pc:chgData name="Hagino, Mayu [JANJP]" userId="S::mhagino3@its.jnj.com::90699482-6b3e-479f-aef9-5595debdc6d5" providerId="AD" clId="Web-{F44FE3C1-A7DA-9367-B49D-9D736C5193B6}" dt="2019-11-12T08:50:05.913" v="1"/>
          <pc:sldLayoutMkLst>
            <pc:docMk/>
            <pc:sldMasterMk cId="2272551599" sldId="2147483827"/>
            <pc:sldLayoutMk cId="1358964708" sldId="2147483830"/>
          </pc:sldLayoutMkLst>
        </pc:sldLayoutChg>
        <pc:sldLayoutChg chg="add mod replId">
          <pc:chgData name="Hagino, Mayu [JANJP]" userId="S::mhagino3@its.jnj.com::90699482-6b3e-479f-aef9-5595debdc6d5" providerId="AD" clId="Web-{F44FE3C1-A7DA-9367-B49D-9D736C5193B6}" dt="2019-11-12T08:50:05.913" v="1"/>
          <pc:sldLayoutMkLst>
            <pc:docMk/>
            <pc:sldMasterMk cId="2272551599" sldId="2147483827"/>
            <pc:sldLayoutMk cId="4099329358" sldId="2147483831"/>
          </pc:sldLayoutMkLst>
        </pc:sldLayoutChg>
        <pc:sldLayoutChg chg="add mod replId">
          <pc:chgData name="Hagino, Mayu [JANJP]" userId="S::mhagino3@its.jnj.com::90699482-6b3e-479f-aef9-5595debdc6d5" providerId="AD" clId="Web-{F44FE3C1-A7DA-9367-B49D-9D736C5193B6}" dt="2019-11-12T08:50:05.913" v="1"/>
          <pc:sldLayoutMkLst>
            <pc:docMk/>
            <pc:sldMasterMk cId="2272551599" sldId="2147483827"/>
            <pc:sldLayoutMk cId="3749595024" sldId="2147483832"/>
          </pc:sldLayoutMkLst>
        </pc:sldLayoutChg>
        <pc:sldLayoutChg chg="add mod replId">
          <pc:chgData name="Hagino, Mayu [JANJP]" userId="S::mhagino3@its.jnj.com::90699482-6b3e-479f-aef9-5595debdc6d5" providerId="AD" clId="Web-{F44FE3C1-A7DA-9367-B49D-9D736C5193B6}" dt="2019-11-12T08:50:05.913" v="1"/>
          <pc:sldLayoutMkLst>
            <pc:docMk/>
            <pc:sldMasterMk cId="2272551599" sldId="2147483827"/>
            <pc:sldLayoutMk cId="1980126123" sldId="2147483833"/>
          </pc:sldLayoutMkLst>
        </pc:sldLayoutChg>
        <pc:sldLayoutChg chg="add mod replId">
          <pc:chgData name="Hagino, Mayu [JANJP]" userId="S::mhagino3@its.jnj.com::90699482-6b3e-479f-aef9-5595debdc6d5" providerId="AD" clId="Web-{F44FE3C1-A7DA-9367-B49D-9D736C5193B6}" dt="2019-11-12T08:50:05.913" v="1"/>
          <pc:sldLayoutMkLst>
            <pc:docMk/>
            <pc:sldMasterMk cId="2272551599" sldId="2147483827"/>
            <pc:sldLayoutMk cId="2085920052" sldId="2147483834"/>
          </pc:sldLayoutMkLst>
        </pc:sldLayoutChg>
        <pc:sldLayoutChg chg="add mod replId">
          <pc:chgData name="Hagino, Mayu [JANJP]" userId="S::mhagino3@its.jnj.com::90699482-6b3e-479f-aef9-5595debdc6d5" providerId="AD" clId="Web-{F44FE3C1-A7DA-9367-B49D-9D736C5193B6}" dt="2019-11-12T08:50:05.913" v="1"/>
          <pc:sldLayoutMkLst>
            <pc:docMk/>
            <pc:sldMasterMk cId="2272551599" sldId="2147483827"/>
            <pc:sldLayoutMk cId="1818621225" sldId="2147483835"/>
          </pc:sldLayoutMkLst>
        </pc:sldLayoutChg>
        <pc:sldLayoutChg chg="add mod replId">
          <pc:chgData name="Hagino, Mayu [JANJP]" userId="S::mhagino3@its.jnj.com::90699482-6b3e-479f-aef9-5595debdc6d5" providerId="AD" clId="Web-{F44FE3C1-A7DA-9367-B49D-9D736C5193B6}" dt="2019-11-12T08:50:05.913" v="1"/>
          <pc:sldLayoutMkLst>
            <pc:docMk/>
            <pc:sldMasterMk cId="2272551599" sldId="2147483827"/>
            <pc:sldLayoutMk cId="459786065" sldId="2147483836"/>
          </pc:sldLayoutMkLst>
        </pc:sldLayoutChg>
        <pc:sldLayoutChg chg="add mod replId">
          <pc:chgData name="Hagino, Mayu [JANJP]" userId="S::mhagino3@its.jnj.com::90699482-6b3e-479f-aef9-5595debdc6d5" providerId="AD" clId="Web-{F44FE3C1-A7DA-9367-B49D-9D736C5193B6}" dt="2019-11-12T08:50:05.913" v="1"/>
          <pc:sldLayoutMkLst>
            <pc:docMk/>
            <pc:sldMasterMk cId="2272551599" sldId="2147483827"/>
            <pc:sldLayoutMk cId="4139014335" sldId="2147483837"/>
          </pc:sldLayoutMkLst>
        </pc:sldLayoutChg>
        <pc:sldLayoutChg chg="add mod replId">
          <pc:chgData name="Hagino, Mayu [JANJP]" userId="S::mhagino3@its.jnj.com::90699482-6b3e-479f-aef9-5595debdc6d5" providerId="AD" clId="Web-{F44FE3C1-A7DA-9367-B49D-9D736C5193B6}" dt="2019-11-12T08:50:05.913" v="1"/>
          <pc:sldLayoutMkLst>
            <pc:docMk/>
            <pc:sldMasterMk cId="2272551599" sldId="2147483827"/>
            <pc:sldLayoutMk cId="4088412619" sldId="2147483838"/>
          </pc:sldLayoutMkLst>
        </pc:sldLayoutChg>
        <pc:sldLayoutChg chg="add mod replId">
          <pc:chgData name="Hagino, Mayu [JANJP]" userId="S::mhagino3@its.jnj.com::90699482-6b3e-479f-aef9-5595debdc6d5" providerId="AD" clId="Web-{F44FE3C1-A7DA-9367-B49D-9D736C5193B6}" dt="2019-11-12T08:50:05.913" v="1"/>
          <pc:sldLayoutMkLst>
            <pc:docMk/>
            <pc:sldMasterMk cId="2272551599" sldId="2147483827"/>
            <pc:sldLayoutMk cId="1564545699" sldId="2147483839"/>
          </pc:sldLayoutMkLst>
        </pc:sldLayoutChg>
      </pc:sldMasterChg>
    </pc:docChg>
  </pc:docChgLst>
  <pc:docChgLst>
    <pc:chgData name="Shimada, Midori [GTSJP]" userId="S::mshimada@its.jnj.com::b03b134a-d9a1-4555-8b7a-b20bb1c43f78" providerId="AD" clId="Web-{EC24CBD4-FE5F-054F-E08B-30D6CDC058F2}"/>
    <pc:docChg chg="modSld">
      <pc:chgData name="Shimada, Midori [GTSJP]" userId="S::mshimada@its.jnj.com::b03b134a-d9a1-4555-8b7a-b20bb1c43f78" providerId="AD" clId="Web-{EC24CBD4-FE5F-054F-E08B-30D6CDC058F2}" dt="2019-12-06T06:20:32.259" v="3" actId="1076"/>
      <pc:docMkLst>
        <pc:docMk/>
      </pc:docMkLst>
      <pc:sldChg chg="modSp">
        <pc:chgData name="Shimada, Midori [GTSJP]" userId="S::mshimada@its.jnj.com::b03b134a-d9a1-4555-8b7a-b20bb1c43f78" providerId="AD" clId="Web-{EC24CBD4-FE5F-054F-E08B-30D6CDC058F2}" dt="2019-12-06T06:20:32.259" v="3" actId="1076"/>
        <pc:sldMkLst>
          <pc:docMk/>
          <pc:sldMk cId="2412272154" sldId="473"/>
        </pc:sldMkLst>
        <pc:picChg chg="mod">
          <ac:chgData name="Shimada, Midori [GTSJP]" userId="S::mshimada@its.jnj.com::b03b134a-d9a1-4555-8b7a-b20bb1c43f78" providerId="AD" clId="Web-{EC24CBD4-FE5F-054F-E08B-30D6CDC058F2}" dt="2019-12-06T06:20:32.259" v="3" actId="1076"/>
          <ac:picMkLst>
            <pc:docMk/>
            <pc:sldMk cId="2412272154" sldId="473"/>
            <ac:picMk id="5" creationId="{42B0CF0B-95C3-4594-8EA6-F0D43FB54464}"/>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wrap="square" lIns="93177" tIns="46589" rIns="93177" bIns="46589" numCol="1" anchor="t" anchorCtr="0" compatLnSpc="1">
            <a:prstTxWarp prst="textNoShape">
              <a:avLst/>
            </a:prstTxWarp>
          </a:bodyPr>
          <a:lstStyle>
            <a:lvl1pPr>
              <a:defRPr sz="1200" smtClean="0">
                <a:cs typeface="Arial" charset="0"/>
              </a:defRPr>
            </a:lvl1pPr>
          </a:lstStyle>
          <a:p>
            <a:pPr>
              <a:defRPr/>
            </a:pPr>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wrap="square" lIns="93177" tIns="46589" rIns="93177" bIns="46589" numCol="1" anchor="t" anchorCtr="0" compatLnSpc="1">
            <a:prstTxWarp prst="textNoShape">
              <a:avLst/>
            </a:prstTxWarp>
          </a:bodyPr>
          <a:lstStyle>
            <a:lvl1pPr algn="r">
              <a:defRPr sz="1200" smtClean="0">
                <a:cs typeface="Arial" charset="0"/>
              </a:defRPr>
            </a:lvl1pPr>
          </a:lstStyle>
          <a:p>
            <a:pPr>
              <a:defRPr/>
            </a:pPr>
            <a:fld id="{DB812E65-0156-E445-B41A-DA31D96B8D81}" type="datetimeFigureOut">
              <a:rPr lang="en-US"/>
              <a:pPr>
                <a:defRPr/>
              </a:pPr>
              <a:t>9/10/2024</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wrap="square" lIns="93177" tIns="46589" rIns="93177" bIns="46589" numCol="1" anchor="b" anchorCtr="0" compatLnSpc="1">
            <a:prstTxWarp prst="textNoShape">
              <a:avLst/>
            </a:prstTxWarp>
          </a:bodyPr>
          <a:lstStyle>
            <a:lvl1pPr>
              <a:defRPr sz="1200" smtClean="0">
                <a:cs typeface="Arial" charset="0"/>
              </a:defRPr>
            </a:lvl1pPr>
          </a:lstStyle>
          <a:p>
            <a:pPr>
              <a:defRPr/>
            </a:pPr>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wrap="square" lIns="93177" tIns="46589" rIns="93177" bIns="46589" numCol="1" anchor="b" anchorCtr="0" compatLnSpc="1">
            <a:prstTxWarp prst="textNoShape">
              <a:avLst/>
            </a:prstTxWarp>
          </a:bodyPr>
          <a:lstStyle>
            <a:lvl1pPr algn="r">
              <a:defRPr sz="1200" smtClean="0">
                <a:cs typeface="Arial" charset="0"/>
              </a:defRPr>
            </a:lvl1pPr>
          </a:lstStyle>
          <a:p>
            <a:pPr>
              <a:defRPr/>
            </a:pPr>
            <a:fld id="{5EC036A5-FC66-7E4F-8468-F493913182BE}" type="slidenum">
              <a:rPr lang="en-US"/>
              <a:pPr>
                <a:defRPr/>
              </a:pPr>
              <a:t>‹#›</a:t>
            </a:fld>
            <a:endParaRPr lang="en-US" dirty="0"/>
          </a:p>
        </p:txBody>
      </p:sp>
    </p:spTree>
    <p:extLst>
      <p:ext uri="{BB962C8B-B14F-4D97-AF65-F5344CB8AC3E}">
        <p14:creationId xmlns:p14="http://schemas.microsoft.com/office/powerpoint/2010/main" val="296292016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2150" kern="1200">
        <a:solidFill>
          <a:schemeClr val="tx1"/>
        </a:solidFill>
        <a:latin typeface="+mn-lt"/>
        <a:ea typeface="ＭＳ Ｐゴシック" charset="0"/>
        <a:cs typeface="ＭＳ Ｐゴシック" charset="0"/>
      </a:defRPr>
    </a:lvl1pPr>
    <a:lvl2pPr marL="819250" algn="l" rtl="0" eaLnBrk="0" fontAlgn="base" hangingPunct="0">
      <a:spcBef>
        <a:spcPct val="30000"/>
      </a:spcBef>
      <a:spcAft>
        <a:spcPct val="0"/>
      </a:spcAft>
      <a:defRPr sz="2150" kern="1200">
        <a:solidFill>
          <a:schemeClr val="tx1"/>
        </a:solidFill>
        <a:latin typeface="+mn-lt"/>
        <a:ea typeface="ＭＳ Ｐゴシック" charset="0"/>
        <a:cs typeface="+mn-cs"/>
      </a:defRPr>
    </a:lvl2pPr>
    <a:lvl3pPr marL="1638501" algn="l" rtl="0" eaLnBrk="0" fontAlgn="base" hangingPunct="0">
      <a:spcBef>
        <a:spcPct val="30000"/>
      </a:spcBef>
      <a:spcAft>
        <a:spcPct val="0"/>
      </a:spcAft>
      <a:defRPr sz="2150" kern="1200">
        <a:solidFill>
          <a:schemeClr val="tx1"/>
        </a:solidFill>
        <a:latin typeface="+mn-lt"/>
        <a:ea typeface="ＭＳ Ｐゴシック" charset="0"/>
        <a:cs typeface="+mn-cs"/>
      </a:defRPr>
    </a:lvl3pPr>
    <a:lvl4pPr marL="2457750" algn="l" rtl="0" eaLnBrk="0" fontAlgn="base" hangingPunct="0">
      <a:spcBef>
        <a:spcPct val="30000"/>
      </a:spcBef>
      <a:spcAft>
        <a:spcPct val="0"/>
      </a:spcAft>
      <a:defRPr sz="2150" kern="1200">
        <a:solidFill>
          <a:schemeClr val="tx1"/>
        </a:solidFill>
        <a:latin typeface="+mn-lt"/>
        <a:ea typeface="ＭＳ Ｐゴシック" charset="0"/>
        <a:cs typeface="+mn-cs"/>
      </a:defRPr>
    </a:lvl4pPr>
    <a:lvl5pPr marL="3277000" algn="l" rtl="0" eaLnBrk="0" fontAlgn="base" hangingPunct="0">
      <a:spcBef>
        <a:spcPct val="30000"/>
      </a:spcBef>
      <a:spcAft>
        <a:spcPct val="0"/>
      </a:spcAft>
      <a:defRPr sz="2150" kern="1200">
        <a:solidFill>
          <a:schemeClr val="tx1"/>
        </a:solidFill>
        <a:latin typeface="+mn-lt"/>
        <a:ea typeface="ＭＳ Ｐゴシック" charset="0"/>
        <a:cs typeface="+mn-cs"/>
      </a:defRPr>
    </a:lvl5pPr>
    <a:lvl6pPr marL="4096250" algn="l" defTabSz="1638501" rtl="0" eaLnBrk="1" latinLnBrk="0" hangingPunct="1">
      <a:defRPr sz="2150" kern="1200">
        <a:solidFill>
          <a:schemeClr val="tx1"/>
        </a:solidFill>
        <a:latin typeface="+mn-lt"/>
        <a:ea typeface="+mn-ea"/>
        <a:cs typeface="+mn-cs"/>
      </a:defRPr>
    </a:lvl6pPr>
    <a:lvl7pPr marL="4915499" algn="l" defTabSz="1638501" rtl="0" eaLnBrk="1" latinLnBrk="0" hangingPunct="1">
      <a:defRPr sz="2150" kern="1200">
        <a:solidFill>
          <a:schemeClr val="tx1"/>
        </a:solidFill>
        <a:latin typeface="+mn-lt"/>
        <a:ea typeface="+mn-ea"/>
        <a:cs typeface="+mn-cs"/>
      </a:defRPr>
    </a:lvl7pPr>
    <a:lvl8pPr marL="5734749" algn="l" defTabSz="1638501" rtl="0" eaLnBrk="1" latinLnBrk="0" hangingPunct="1">
      <a:defRPr sz="2150" kern="1200">
        <a:solidFill>
          <a:schemeClr val="tx1"/>
        </a:solidFill>
        <a:latin typeface="+mn-lt"/>
        <a:ea typeface="+mn-ea"/>
        <a:cs typeface="+mn-cs"/>
      </a:defRPr>
    </a:lvl8pPr>
    <a:lvl9pPr marL="6554000" algn="l" defTabSz="1638501" rtl="0" eaLnBrk="1" latinLnBrk="0" hangingPunct="1">
      <a:defRPr sz="215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2.jp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2.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171700" y="1646133"/>
            <a:ext cx="13030200" cy="3501813"/>
          </a:xfrm>
        </p:spPr>
        <p:txBody>
          <a:bodyPr anchor="b"/>
          <a:lstStyle>
            <a:lvl1pPr algn="ctr">
              <a:defRPr sz="10364"/>
            </a:lvl1pPr>
          </a:lstStyle>
          <a:p>
            <a:r>
              <a:rPr lang="en-US" dirty="0"/>
              <a:t>Click to edit Master title style</a:t>
            </a:r>
          </a:p>
        </p:txBody>
      </p:sp>
      <p:sp>
        <p:nvSpPr>
          <p:cNvPr id="3" name="Subtitle 2"/>
          <p:cNvSpPr>
            <a:spLocks noGrp="1"/>
          </p:cNvSpPr>
          <p:nvPr>
            <p:ph type="subTitle" idx="1"/>
          </p:nvPr>
        </p:nvSpPr>
        <p:spPr>
          <a:xfrm>
            <a:off x="2171700" y="5282989"/>
            <a:ext cx="13030200" cy="2428451"/>
          </a:xfrm>
        </p:spPr>
        <p:txBody>
          <a:bodyPr/>
          <a:lstStyle>
            <a:lvl1pPr marL="0" indent="0" algn="ctr">
              <a:buNone/>
              <a:defRPr sz="4146"/>
            </a:lvl1pPr>
            <a:lvl2pPr marL="789722" indent="0" algn="ctr">
              <a:buNone/>
              <a:defRPr sz="3455"/>
            </a:lvl2pPr>
            <a:lvl3pPr marL="1579443" indent="0" algn="ctr">
              <a:buNone/>
              <a:defRPr sz="3109"/>
            </a:lvl3pPr>
            <a:lvl4pPr marL="2369165" indent="0" algn="ctr">
              <a:buNone/>
              <a:defRPr sz="2764"/>
            </a:lvl4pPr>
            <a:lvl5pPr marL="3158886" indent="0" algn="ctr">
              <a:buNone/>
              <a:defRPr sz="2764"/>
            </a:lvl5pPr>
            <a:lvl6pPr marL="3948608" indent="0" algn="ctr">
              <a:buNone/>
              <a:defRPr sz="2764"/>
            </a:lvl6pPr>
            <a:lvl7pPr marL="4738329" indent="0" algn="ctr">
              <a:buNone/>
              <a:defRPr sz="2764"/>
            </a:lvl7pPr>
            <a:lvl8pPr marL="5528051" indent="0" algn="ctr">
              <a:buNone/>
              <a:defRPr sz="2764"/>
            </a:lvl8pPr>
            <a:lvl9pPr marL="6317772" indent="0" algn="ctr">
              <a:buNone/>
              <a:defRPr sz="2764"/>
            </a:lvl9pPr>
          </a:lstStyle>
          <a:p>
            <a:r>
              <a:rPr lang="en-US" dirty="0"/>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9/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829089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9/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3587704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2432982" y="535517"/>
            <a:ext cx="3746183" cy="8524029"/>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1194435" y="535517"/>
            <a:ext cx="11021378" cy="8524029"/>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9/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421332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_">
    <p:spTree>
      <p:nvGrpSpPr>
        <p:cNvPr id="1" name=""/>
        <p:cNvGrpSpPr/>
        <p:nvPr/>
      </p:nvGrpSpPr>
      <p:grpSpPr>
        <a:xfrm>
          <a:off x="0" y="0"/>
          <a:ext cx="0" cy="0"/>
          <a:chOff x="0" y="0"/>
          <a:chExt cx="0" cy="0"/>
        </a:xfrm>
      </p:grpSpPr>
      <p:sp>
        <p:nvSpPr>
          <p:cNvPr id="11" name="Text Placeholder 5"/>
          <p:cNvSpPr>
            <a:spLocks noGrp="1"/>
          </p:cNvSpPr>
          <p:nvPr>
            <p:ph type="body" sz="quarter" idx="10"/>
          </p:nvPr>
        </p:nvSpPr>
        <p:spPr>
          <a:xfrm>
            <a:off x="1327157" y="4983134"/>
            <a:ext cx="13589213" cy="1501806"/>
          </a:xfrm>
        </p:spPr>
        <p:txBody>
          <a:bodyPr anchor="b"/>
          <a:lstStyle>
            <a:lvl1pPr marL="0" indent="0">
              <a:lnSpc>
                <a:spcPct val="85000"/>
              </a:lnSpc>
              <a:spcBef>
                <a:spcPts val="0"/>
              </a:spcBef>
              <a:buNone/>
              <a:defRPr sz="4759" b="1"/>
            </a:lvl1pPr>
          </a:lstStyle>
          <a:p>
            <a:pPr lvl="0"/>
            <a:endParaRPr lang="en-US" dirty="0"/>
          </a:p>
        </p:txBody>
      </p:sp>
      <p:sp>
        <p:nvSpPr>
          <p:cNvPr id="12" name="Text Placeholder 7"/>
          <p:cNvSpPr>
            <a:spLocks noGrp="1"/>
          </p:cNvSpPr>
          <p:nvPr>
            <p:ph type="body" sz="quarter" idx="11"/>
          </p:nvPr>
        </p:nvSpPr>
        <p:spPr>
          <a:xfrm>
            <a:off x="1327157" y="6539578"/>
            <a:ext cx="13589213" cy="1024467"/>
          </a:xfrm>
        </p:spPr>
        <p:txBody>
          <a:bodyPr/>
          <a:lstStyle>
            <a:lvl1pPr marL="0" indent="0">
              <a:buNone/>
              <a:defRPr sz="3060" i="0">
                <a:solidFill>
                  <a:srgbClr val="0070C0"/>
                </a:solidFill>
                <a:latin typeface="Georgia" charset="0"/>
                <a:ea typeface="Georgia" charset="0"/>
                <a:cs typeface="Georgia" charset="0"/>
              </a:defRPr>
            </a:lvl1pPr>
          </a:lstStyle>
          <a:p>
            <a:pPr lvl="0"/>
            <a:endParaRPr lang="en-US" dirty="0"/>
          </a:p>
        </p:txBody>
      </p:sp>
      <p:sp>
        <p:nvSpPr>
          <p:cNvPr id="13" name="Text Placeholder 6"/>
          <p:cNvSpPr>
            <a:spLocks noGrp="1"/>
          </p:cNvSpPr>
          <p:nvPr>
            <p:ph type="body" sz="quarter" idx="12" hasCustomPrompt="1"/>
          </p:nvPr>
        </p:nvSpPr>
        <p:spPr>
          <a:xfrm>
            <a:off x="1327157" y="7618671"/>
            <a:ext cx="13589213" cy="403578"/>
          </a:xfrm>
        </p:spPr>
        <p:txBody>
          <a:bodyPr/>
          <a:lstStyle>
            <a:lvl1pPr marL="0" indent="0">
              <a:buNone/>
              <a:defRPr/>
            </a:lvl1pPr>
          </a:lstStyle>
          <a:p>
            <a:pPr lvl="0"/>
            <a:r>
              <a:rPr lang="en-US" dirty="0"/>
              <a:t>Dat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r="55756"/>
          <a:stretch/>
        </p:blipFill>
        <p:spPr>
          <a:xfrm>
            <a:off x="211839" y="9296500"/>
            <a:ext cx="2233143" cy="750370"/>
          </a:xfrm>
          <a:prstGeom prst="rect">
            <a:avLst/>
          </a:prstGeom>
        </p:spPr>
      </p:pic>
      <p:pic>
        <p:nvPicPr>
          <p:cNvPr id="10" name="Picture 9">
            <a:extLst>
              <a:ext uri="{FF2B5EF4-FFF2-40B4-BE49-F238E27FC236}">
                <a16:creationId xmlns:a16="http://schemas.microsoft.com/office/drawing/2014/main" id="{4EFDA912-4A3A-4200-84F6-8D841CD04E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1060"/>
          <a:stretch/>
        </p:blipFill>
        <p:spPr>
          <a:xfrm>
            <a:off x="2444986" y="9296500"/>
            <a:ext cx="1460681" cy="750370"/>
          </a:xfrm>
          <a:prstGeom prst="rect">
            <a:avLst/>
          </a:prstGeom>
        </p:spPr>
      </p:pic>
    </p:spTree>
    <p:extLst>
      <p:ext uri="{BB962C8B-B14F-4D97-AF65-F5344CB8AC3E}">
        <p14:creationId xmlns:p14="http://schemas.microsoft.com/office/powerpoint/2010/main" val="27052239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16122"/>
            <a:ext cx="17373600" cy="13514250"/>
          </a:xfrm>
          <a:prstGeom prst="rect">
            <a:avLst/>
          </a:prstGeom>
        </p:spPr>
      </p:pic>
    </p:spTree>
    <p:extLst>
      <p:ext uri="{BB962C8B-B14F-4D97-AF65-F5344CB8AC3E}">
        <p14:creationId xmlns:p14="http://schemas.microsoft.com/office/powerpoint/2010/main" val="2415476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Title-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7761" y="9063841"/>
            <a:ext cx="3015650" cy="597698"/>
          </a:xfrm>
          <a:prstGeom prst="rect">
            <a:avLst/>
          </a:prstGeom>
        </p:spPr>
      </p:pic>
      <p:sp>
        <p:nvSpPr>
          <p:cNvPr id="5" name="Title 4"/>
          <p:cNvSpPr>
            <a:spLocks noGrp="1"/>
          </p:cNvSpPr>
          <p:nvPr>
            <p:ph type="title" hasCustomPrompt="1"/>
          </p:nvPr>
        </p:nvSpPr>
        <p:spPr>
          <a:xfrm>
            <a:off x="10134659" y="3463440"/>
            <a:ext cx="6770616" cy="2113860"/>
          </a:xfrm>
          <a:prstGeom prst="rect">
            <a:avLst/>
          </a:prstGeom>
        </p:spPr>
        <p:txBody>
          <a:bodyPr/>
          <a:lstStyle>
            <a:lvl1pPr>
              <a:lnSpc>
                <a:spcPct val="100000"/>
              </a:lnSpc>
              <a:defRPr sz="6800" b="1" spc="0" baseline="0">
                <a:solidFill>
                  <a:schemeClr val="tx1"/>
                </a:solidFill>
                <a:latin typeface="Lato Black"/>
                <a:cs typeface="Lato Black"/>
              </a:defRPr>
            </a:lvl1pPr>
          </a:lstStyle>
          <a:p>
            <a:r>
              <a:rPr lang="en-US" dirty="0"/>
              <a:t>CLICK  TO ADD TITLE</a:t>
            </a:r>
          </a:p>
        </p:txBody>
      </p:sp>
      <p:sp>
        <p:nvSpPr>
          <p:cNvPr id="3" name="Text Placeholder 2"/>
          <p:cNvSpPr>
            <a:spLocks noGrp="1"/>
          </p:cNvSpPr>
          <p:nvPr>
            <p:ph type="body" sz="quarter" idx="10" hasCustomPrompt="1"/>
          </p:nvPr>
        </p:nvSpPr>
        <p:spPr>
          <a:xfrm>
            <a:off x="10158730" y="5699760"/>
            <a:ext cx="6756400" cy="1117600"/>
          </a:xfrm>
          <a:prstGeom prst="rect">
            <a:avLst/>
          </a:prstGeom>
        </p:spPr>
        <p:txBody>
          <a:bodyPr/>
          <a:lstStyle>
            <a:lvl1pPr marL="0" indent="0">
              <a:buNone/>
              <a:defRPr sz="4759" b="1">
                <a:solidFill>
                  <a:schemeClr val="accent3"/>
                </a:solidFill>
                <a:latin typeface="Lato Regular"/>
                <a:cs typeface="Lato Regular"/>
              </a:defRPr>
            </a:lvl1pPr>
          </a:lstStyle>
          <a:p>
            <a:pPr lvl="0"/>
            <a:r>
              <a:rPr lang="en-US" dirty="0"/>
              <a:t>Click to add text</a:t>
            </a:r>
          </a:p>
        </p:txBody>
      </p:sp>
      <p:pic>
        <p:nvPicPr>
          <p:cNvPr id="2" name="Picture 1" descr="ITAS-logo.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785908" y="434848"/>
            <a:ext cx="2103771" cy="816212"/>
          </a:xfrm>
          <a:prstGeom prst="rect">
            <a:avLst/>
          </a:prstGeom>
        </p:spPr>
      </p:pic>
      <p:pic>
        <p:nvPicPr>
          <p:cNvPr id="7" name="Picture 6" descr="ITAS-PPTbackground1920x1080_2.jp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7373600" cy="10058400"/>
          </a:xfrm>
          <a:prstGeom prst="rect">
            <a:avLst/>
          </a:prstGeom>
        </p:spPr>
      </p:pic>
    </p:spTree>
    <p:extLst>
      <p:ext uri="{BB962C8B-B14F-4D97-AF65-F5344CB8AC3E}">
        <p14:creationId xmlns:p14="http://schemas.microsoft.com/office/powerpoint/2010/main" val="168373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Intro">
    <p:spTree>
      <p:nvGrpSpPr>
        <p:cNvPr id="1" name=""/>
        <p:cNvGrpSpPr/>
        <p:nvPr/>
      </p:nvGrpSpPr>
      <p:grpSpPr>
        <a:xfrm>
          <a:off x="0" y="0"/>
          <a:ext cx="0" cy="0"/>
          <a:chOff x="0" y="0"/>
          <a:chExt cx="0" cy="0"/>
        </a:xfrm>
      </p:grpSpPr>
      <p:sp>
        <p:nvSpPr>
          <p:cNvPr id="3" name="Rectangle 2"/>
          <p:cNvSpPr/>
          <p:nvPr userDrawn="1"/>
        </p:nvSpPr>
        <p:spPr>
          <a:xfrm>
            <a:off x="0" y="9"/>
            <a:ext cx="17390974" cy="10071809"/>
          </a:xfrm>
          <a:prstGeom prst="rect">
            <a:avLst/>
          </a:prstGeom>
          <a:solidFill>
            <a:srgbClr val="E5223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8" name="Content Placeholder 2"/>
          <p:cNvSpPr>
            <a:spLocks noGrp="1"/>
          </p:cNvSpPr>
          <p:nvPr>
            <p:ph idx="1" hasCustomPrompt="1"/>
          </p:nvPr>
        </p:nvSpPr>
        <p:spPr>
          <a:xfrm>
            <a:off x="1091927" y="5117718"/>
            <a:ext cx="11776498" cy="645032"/>
          </a:xfrm>
          <a:prstGeom prst="rect">
            <a:avLst/>
          </a:prstGeom>
        </p:spPr>
        <p:txBody>
          <a:bodyPr anchor="b"/>
          <a:lstStyle>
            <a:lvl1pPr marL="0" indent="0">
              <a:buNone/>
              <a:defRPr sz="4080" baseline="0">
                <a:solidFill>
                  <a:srgbClr val="FFFFFF"/>
                </a:solidFill>
              </a:defRPr>
            </a:lvl1pPr>
            <a:lvl2pPr>
              <a:defRPr>
                <a:solidFill>
                  <a:schemeClr val="tx1">
                    <a:lumMod val="65000"/>
                    <a:lumOff val="35000"/>
                  </a:schemeClr>
                </a:solidFill>
              </a:defRPr>
            </a:lvl2pPr>
          </a:lstStyle>
          <a:p>
            <a:pPr lvl="0"/>
            <a:r>
              <a:rPr lang="en-US" dirty="0"/>
              <a:t>Section Headline</a:t>
            </a:r>
          </a:p>
        </p:txBody>
      </p:sp>
      <p:sp>
        <p:nvSpPr>
          <p:cNvPr id="9" name="Content Placeholder 2"/>
          <p:cNvSpPr>
            <a:spLocks noGrp="1"/>
          </p:cNvSpPr>
          <p:nvPr>
            <p:ph idx="10" hasCustomPrompt="1"/>
          </p:nvPr>
        </p:nvSpPr>
        <p:spPr>
          <a:xfrm>
            <a:off x="1091927" y="5917310"/>
            <a:ext cx="11776498" cy="645032"/>
          </a:xfrm>
          <a:prstGeom prst="rect">
            <a:avLst/>
          </a:prstGeom>
        </p:spPr>
        <p:txBody>
          <a:bodyPr anchor="b"/>
          <a:lstStyle>
            <a:lvl1pPr marL="0" indent="0">
              <a:buNone/>
              <a:defRPr sz="3060" baseline="0">
                <a:solidFill>
                  <a:srgbClr val="FFFFFF"/>
                </a:solidFill>
              </a:defRPr>
            </a:lvl1pPr>
            <a:lvl2pPr>
              <a:defRPr>
                <a:solidFill>
                  <a:schemeClr val="tx1">
                    <a:lumMod val="65000"/>
                    <a:lumOff val="35000"/>
                  </a:schemeClr>
                </a:solidFill>
              </a:defRPr>
            </a:lvl2pPr>
          </a:lstStyle>
          <a:p>
            <a:pPr lvl="0"/>
            <a:r>
              <a:rPr lang="en-US" dirty="0"/>
              <a:t>Section </a:t>
            </a:r>
            <a:r>
              <a:rPr lang="en-US" dirty="0" err="1"/>
              <a:t>SubHead</a:t>
            </a:r>
            <a:endParaRPr lang="en-US" dirty="0"/>
          </a:p>
        </p:txBody>
      </p:sp>
      <p:sp>
        <p:nvSpPr>
          <p:cNvPr id="12" name="Text Placeholder 10"/>
          <p:cNvSpPr txBox="1">
            <a:spLocks/>
          </p:cNvSpPr>
          <p:nvPr userDrawn="1"/>
        </p:nvSpPr>
        <p:spPr bwMode="auto">
          <a:xfrm>
            <a:off x="16246833" y="9307371"/>
            <a:ext cx="1307746"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rgbClr val="FFFFFF">
                    <a:lumMod val="65000"/>
                  </a:srgbClr>
                </a:solidFill>
                <a:latin typeface="Arial" pitchFamily="34" charset="0"/>
                <a:ea typeface="MS PGothic" pitchFamily="34" charset="-128"/>
                <a:cs typeface="Arial" pitchFamily="34" charset="0"/>
                <a:sym typeface="Arial" pitchFamily="34" charset="0"/>
              </a:rPr>
              <a:t>  </a:t>
            </a:r>
            <a:endParaRPr lang="en-US" sz="1530" dirty="0">
              <a:solidFill>
                <a:srgbClr val="FFFFFF"/>
              </a:solidFill>
              <a:latin typeface="Arial" pitchFamily="34" charset="0"/>
              <a:ea typeface="MS PGothic" pitchFamily="34" charset="-128"/>
              <a:cs typeface="Arial" pitchFamily="34" charset="0"/>
              <a:sym typeface="Arial" pitchFamily="34" charset="0"/>
            </a:endParaRPr>
          </a:p>
        </p:txBody>
      </p:sp>
      <p:pic>
        <p:nvPicPr>
          <p:cNvPr id="10" name="Picture 9" descr="ITAS-PPT-Footer.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400238"/>
            <a:ext cx="17373600" cy="658162"/>
          </a:xfrm>
          <a:prstGeom prst="rect">
            <a:avLst/>
          </a:prstGeom>
        </p:spPr>
      </p:pic>
      <p:sp>
        <p:nvSpPr>
          <p:cNvPr id="13" name="Text Placeholder 10"/>
          <p:cNvSpPr txBox="1">
            <a:spLocks/>
          </p:cNvSpPr>
          <p:nvPr userDrawn="1"/>
        </p:nvSpPr>
        <p:spPr bwMode="auto">
          <a:xfrm>
            <a:off x="16246833" y="9278151"/>
            <a:ext cx="1307746"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rgbClr val="FFFFFF">
                    <a:lumMod val="65000"/>
                  </a:srgbClr>
                </a:solidFill>
                <a:latin typeface="Arial" pitchFamily="34" charset="0"/>
                <a:ea typeface="MS PGothic" pitchFamily="34" charset="-128"/>
                <a:cs typeface="Arial" pitchFamily="34" charset="0"/>
                <a:sym typeface="Arial" pitchFamily="34" charset="0"/>
              </a:rPr>
              <a:t>  </a:t>
            </a:r>
            <a:fld id="{C1209FD9-C7F3-4875-AF7D-3292D13E6022}" type="slidenum">
              <a:rPr lang="en-US" sz="1530">
                <a:solidFill>
                  <a:srgbClr val="FFFFFF"/>
                </a:solidFill>
                <a:latin typeface="Arial" pitchFamily="34" charset="0"/>
                <a:ea typeface="MS PGothic" pitchFamily="34" charset="-128"/>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latin typeface="Arial" pitchFamily="34" charset="0"/>
              <a:ea typeface="MS PGothic" pitchFamily="34" charset="-128"/>
              <a:cs typeface="Arial" pitchFamily="34" charset="0"/>
              <a:sym typeface="Arial" pitchFamily="34" charset="0"/>
            </a:endParaRPr>
          </a:p>
        </p:txBody>
      </p:sp>
    </p:spTree>
    <p:extLst>
      <p:ext uri="{BB962C8B-B14F-4D97-AF65-F5344CB8AC3E}">
        <p14:creationId xmlns:p14="http://schemas.microsoft.com/office/powerpoint/2010/main" val="272494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7886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NO Background">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868680" y="429158"/>
            <a:ext cx="15636240" cy="710594"/>
          </a:xfrm>
          <a:prstGeom prst="rect">
            <a:avLst/>
          </a:prstGeom>
          <a:noFill/>
          <a:ln w="9525">
            <a:noFill/>
            <a:miter lim="800000"/>
            <a:headEnd/>
            <a:tailEnd/>
          </a:ln>
        </p:spPr>
        <p:txBody>
          <a:bodyPr vert="horz" wrap="square" lIns="0" tIns="0" rIns="91342" bIns="0" numCol="1" anchor="ctr" anchorCtr="0" compatLnSpc="1">
            <a:prstTxWarp prst="textNoShape">
              <a:avLst/>
            </a:prstTxWarp>
          </a:bodyPr>
          <a:lstStyle/>
          <a:p>
            <a:pPr lvl="0"/>
            <a:r>
              <a:rPr lang="en-US" dirty="0"/>
              <a:t>Click to edit Master title style</a:t>
            </a:r>
          </a:p>
        </p:txBody>
      </p:sp>
      <p:sp>
        <p:nvSpPr>
          <p:cNvPr id="5" name="Text Placeholder 2"/>
          <p:cNvSpPr>
            <a:spLocks noGrp="1"/>
          </p:cNvSpPr>
          <p:nvPr>
            <p:ph idx="1"/>
          </p:nvPr>
        </p:nvSpPr>
        <p:spPr bwMode="auto">
          <a:xfrm>
            <a:off x="868680" y="2027282"/>
            <a:ext cx="15636240" cy="69577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50823" indent="-350823">
              <a:defRPr/>
            </a:lvl1pPr>
          </a:lstStyle>
          <a:p>
            <a:pPr lvl="0"/>
            <a:r>
              <a:rPr lang="en-US" dirty="0"/>
              <a:t>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ctangle 5"/>
          <p:cNvSpPr/>
          <p:nvPr userDrawn="1"/>
        </p:nvSpPr>
        <p:spPr>
          <a:xfrm>
            <a:off x="0" y="9409156"/>
            <a:ext cx="17373600" cy="649244"/>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7" name="Text Placeholder 10"/>
          <p:cNvSpPr txBox="1">
            <a:spLocks/>
          </p:cNvSpPr>
          <p:nvPr userDrawn="1"/>
        </p:nvSpPr>
        <p:spPr bwMode="auto">
          <a:xfrm>
            <a:off x="16246833" y="9307371"/>
            <a:ext cx="1307746"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rgbClr val="FFFFFF">
                    <a:lumMod val="65000"/>
                  </a:srgbClr>
                </a:solidFill>
                <a:latin typeface="Arial" pitchFamily="34" charset="0"/>
                <a:ea typeface="MS PGothic" pitchFamily="34" charset="-128"/>
                <a:cs typeface="Arial" pitchFamily="34" charset="0"/>
                <a:sym typeface="Arial" pitchFamily="34" charset="0"/>
              </a:rPr>
              <a:t>  </a:t>
            </a:r>
            <a:fld id="{C1209FD9-C7F3-4875-AF7D-3292D13E6022}" type="slidenum">
              <a:rPr lang="en-US" sz="1530">
                <a:solidFill>
                  <a:srgbClr val="FFFFFF"/>
                </a:solidFill>
                <a:latin typeface="Arial" pitchFamily="34" charset="0"/>
                <a:ea typeface="MS PGothic" pitchFamily="34" charset="-128"/>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latin typeface="Arial" pitchFamily="34" charset="0"/>
              <a:ea typeface="MS PGothic" pitchFamily="34" charset="-128"/>
              <a:cs typeface="Arial" pitchFamily="34" charset="0"/>
              <a:sym typeface="Arial" pitchFamily="34" charset="0"/>
            </a:endParaRPr>
          </a:p>
        </p:txBody>
      </p:sp>
      <p:pic>
        <p:nvPicPr>
          <p:cNvPr id="9" name="Picture 8"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30205" y="9474717"/>
            <a:ext cx="4928956" cy="548526"/>
          </a:xfrm>
          <a:prstGeom prst="rect">
            <a:avLst/>
          </a:prstGeom>
        </p:spPr>
      </p:pic>
      <p:pic>
        <p:nvPicPr>
          <p:cNvPr id="13" name="Picture 12" descr="ITAS-Horizontal-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986463" y="9594822"/>
            <a:ext cx="3437274" cy="269757"/>
          </a:xfrm>
          <a:prstGeom prst="rect">
            <a:avLst/>
          </a:prstGeom>
        </p:spPr>
      </p:pic>
    </p:spTree>
    <p:extLst>
      <p:ext uri="{BB962C8B-B14F-4D97-AF65-F5344CB8AC3E}">
        <p14:creationId xmlns:p14="http://schemas.microsoft.com/office/powerpoint/2010/main" val="974067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68680" y="429158"/>
            <a:ext cx="15636240" cy="71059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5340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2" name="Rectangle 1"/>
          <p:cNvSpPr/>
          <p:nvPr userDrawn="1"/>
        </p:nvSpPr>
        <p:spPr>
          <a:xfrm>
            <a:off x="0" y="0"/>
            <a:ext cx="17373600" cy="941706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0" name="Text Placeholder 9"/>
          <p:cNvSpPr>
            <a:spLocks noGrp="1"/>
          </p:cNvSpPr>
          <p:nvPr>
            <p:ph type="body" sz="quarter" idx="10" hasCustomPrompt="1"/>
          </p:nvPr>
        </p:nvSpPr>
        <p:spPr>
          <a:xfrm>
            <a:off x="0" y="3699729"/>
            <a:ext cx="17373600" cy="1430063"/>
          </a:xfrm>
          <a:prstGeom prst="rect">
            <a:avLst/>
          </a:prstGeom>
        </p:spPr>
        <p:txBody>
          <a:bodyPr/>
          <a:lstStyle>
            <a:lvl1pPr marL="0" indent="0" algn="ctr">
              <a:buNone/>
              <a:defRPr sz="8840">
                <a:solidFill>
                  <a:srgbClr val="FFFFFF"/>
                </a:solidFill>
                <a:latin typeface="Lato Bold"/>
                <a:cs typeface="Lato Bold"/>
              </a:defRPr>
            </a:lvl1pPr>
          </a:lstStyle>
          <a:p>
            <a:pPr lvl="0"/>
            <a:r>
              <a:rPr lang="en-US" dirty="0"/>
              <a:t>Click to edit Title</a:t>
            </a:r>
          </a:p>
        </p:txBody>
      </p:sp>
      <p:sp>
        <p:nvSpPr>
          <p:cNvPr id="16" name="Text Placeholder 15"/>
          <p:cNvSpPr>
            <a:spLocks noGrp="1"/>
          </p:cNvSpPr>
          <p:nvPr>
            <p:ph type="body" sz="quarter" idx="11" hasCustomPrompt="1"/>
          </p:nvPr>
        </p:nvSpPr>
        <p:spPr>
          <a:xfrm>
            <a:off x="3262378" y="5128860"/>
            <a:ext cx="10887458" cy="3532083"/>
          </a:xfrm>
          <a:prstGeom prst="rect">
            <a:avLst/>
          </a:prstGeom>
        </p:spPr>
        <p:txBody>
          <a:bodyPr/>
          <a:lstStyle>
            <a:lvl1pPr marL="0" marR="0" indent="0" algn="ctr" defTabSz="774508" rtl="0" eaLnBrk="1" fontAlgn="base" latinLnBrk="0" hangingPunct="1">
              <a:lnSpc>
                <a:spcPts val="4759"/>
              </a:lnSpc>
              <a:spcBef>
                <a:spcPts val="0"/>
              </a:spcBef>
              <a:spcAft>
                <a:spcPct val="0"/>
              </a:spcAft>
              <a:buClr>
                <a:schemeClr val="accent1"/>
              </a:buClr>
              <a:buSzTx/>
              <a:buFont typeface="Arial"/>
              <a:buNone/>
              <a:tabLst/>
              <a:defRPr sz="2890">
                <a:solidFill>
                  <a:srgbClr val="FFFFFF"/>
                </a:solidFill>
                <a:latin typeface="Lato Light"/>
                <a:cs typeface="Lato Light"/>
              </a:defRPr>
            </a:lvl1pPr>
            <a:lvl2pPr marL="528932" indent="0" algn="ctr">
              <a:buNone/>
              <a:defRPr sz="2720">
                <a:solidFill>
                  <a:srgbClr val="FFFFFF"/>
                </a:solidFill>
                <a:latin typeface="Georgia"/>
                <a:cs typeface="Georgia"/>
              </a:defRPr>
            </a:lvl2pPr>
            <a:lvl3pPr marL="1152316" indent="0" algn="ctr">
              <a:buNone/>
              <a:defRPr sz="2720">
                <a:solidFill>
                  <a:srgbClr val="FFFFFF"/>
                </a:solidFill>
                <a:latin typeface="Georgia"/>
                <a:cs typeface="Georgia"/>
              </a:defRPr>
            </a:lvl3pPr>
            <a:lvl4pPr marL="1616481" indent="0" algn="ctr">
              <a:buNone/>
              <a:defRPr sz="2720">
                <a:solidFill>
                  <a:srgbClr val="FFFFFF"/>
                </a:solidFill>
                <a:latin typeface="Georgia"/>
                <a:cs typeface="Georgia"/>
              </a:defRPr>
            </a:lvl4pPr>
            <a:lvl5pPr marL="2083343" indent="0" algn="ctr">
              <a:buNone/>
              <a:defRPr sz="2720">
                <a:solidFill>
                  <a:srgbClr val="FFFFFF"/>
                </a:solidFill>
                <a:latin typeface="Georgia"/>
                <a:cs typeface="Georgia"/>
              </a:defRPr>
            </a:lvl5pPr>
          </a:lstStyle>
          <a:p>
            <a:pPr lvl="0"/>
            <a:r>
              <a:rPr lang="en-US" dirty="0"/>
              <a:t>Click to edit Description</a:t>
            </a:r>
          </a:p>
        </p:txBody>
      </p:sp>
      <p:sp>
        <p:nvSpPr>
          <p:cNvPr id="8" name="Text Placeholder 10"/>
          <p:cNvSpPr txBox="1">
            <a:spLocks/>
          </p:cNvSpPr>
          <p:nvPr userDrawn="1"/>
        </p:nvSpPr>
        <p:spPr bwMode="auto">
          <a:xfrm>
            <a:off x="16246833" y="9307371"/>
            <a:ext cx="1307746"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rgbClr val="FFFFFF">
                    <a:lumMod val="65000"/>
                  </a:srgbClr>
                </a:solidFill>
                <a:latin typeface="Arial" pitchFamily="34" charset="0"/>
                <a:ea typeface="MS PGothic" pitchFamily="34" charset="-128"/>
                <a:cs typeface="Arial" pitchFamily="34" charset="0"/>
                <a:sym typeface="Arial" pitchFamily="34" charset="0"/>
              </a:rPr>
              <a:t>  </a:t>
            </a:r>
            <a:fld id="{C1209FD9-C7F3-4875-AF7D-3292D13E6022}" type="slidenum">
              <a:rPr lang="en-US" sz="1530">
                <a:solidFill>
                  <a:srgbClr val="FFFFFF"/>
                </a:solidFill>
                <a:latin typeface="Arial" pitchFamily="34" charset="0"/>
                <a:ea typeface="MS PGothic" pitchFamily="34" charset="-128"/>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latin typeface="Arial" pitchFamily="34" charset="0"/>
              <a:ea typeface="MS PGothic" pitchFamily="34" charset="-128"/>
              <a:cs typeface="Arial" pitchFamily="34" charset="0"/>
              <a:sym typeface="Arial" pitchFamily="34" charset="0"/>
            </a:endParaRPr>
          </a:p>
        </p:txBody>
      </p:sp>
      <p:pic>
        <p:nvPicPr>
          <p:cNvPr id="11" name="Picture 10"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30205" y="9474717"/>
            <a:ext cx="4928956" cy="548526"/>
          </a:xfrm>
          <a:prstGeom prst="rect">
            <a:avLst/>
          </a:prstGeom>
        </p:spPr>
      </p:pic>
      <p:pic>
        <p:nvPicPr>
          <p:cNvPr id="12" name="Picture 11" descr="ITAS-Horizontal-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986463" y="9594822"/>
            <a:ext cx="3437274" cy="269757"/>
          </a:xfrm>
          <a:prstGeom prst="rect">
            <a:avLst/>
          </a:prstGeom>
        </p:spPr>
      </p:pic>
      <p:pic>
        <p:nvPicPr>
          <p:cNvPr id="15" name="Picture 14" descr="ITAS-PPT-Footer.jp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9414848"/>
            <a:ext cx="17373600" cy="658162"/>
          </a:xfrm>
          <a:prstGeom prst="rect">
            <a:avLst/>
          </a:prstGeom>
        </p:spPr>
      </p:pic>
      <p:sp>
        <p:nvSpPr>
          <p:cNvPr id="17" name="Text Placeholder 10"/>
          <p:cNvSpPr txBox="1">
            <a:spLocks/>
          </p:cNvSpPr>
          <p:nvPr userDrawn="1"/>
        </p:nvSpPr>
        <p:spPr bwMode="auto">
          <a:xfrm>
            <a:off x="16246833" y="9292761"/>
            <a:ext cx="1307746"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rgbClr val="FFFFFF">
                    <a:lumMod val="65000"/>
                  </a:srgbClr>
                </a:solidFill>
                <a:latin typeface="Arial" pitchFamily="34" charset="0"/>
                <a:ea typeface="MS PGothic" pitchFamily="34" charset="-128"/>
                <a:cs typeface="Arial" pitchFamily="34" charset="0"/>
                <a:sym typeface="Arial" pitchFamily="34" charset="0"/>
              </a:rPr>
              <a:t>  </a:t>
            </a:r>
            <a:fld id="{C1209FD9-C7F3-4875-AF7D-3292D13E6022}" type="slidenum">
              <a:rPr lang="en-US" sz="1530">
                <a:solidFill>
                  <a:srgbClr val="FFFFFF"/>
                </a:solidFill>
                <a:latin typeface="Arial" pitchFamily="34" charset="0"/>
                <a:ea typeface="MS PGothic" pitchFamily="34" charset="-128"/>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latin typeface="Arial" pitchFamily="34" charset="0"/>
              <a:ea typeface="MS PGothic" pitchFamily="34" charset="-128"/>
              <a:cs typeface="Arial" pitchFamily="34" charset="0"/>
              <a:sym typeface="Arial" pitchFamily="34" charset="0"/>
            </a:endParaRPr>
          </a:p>
        </p:txBody>
      </p:sp>
    </p:spTree>
    <p:extLst>
      <p:ext uri="{BB962C8B-B14F-4D97-AF65-F5344CB8AC3E}">
        <p14:creationId xmlns:p14="http://schemas.microsoft.com/office/powerpoint/2010/main" val="294899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9/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310653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68680" y="429158"/>
            <a:ext cx="15636240" cy="710594"/>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68682" y="1996085"/>
            <a:ext cx="7673340" cy="6987464"/>
          </a:xfrm>
          <a:prstGeom prst="rect">
            <a:avLst/>
          </a:prstGeom>
        </p:spPr>
        <p:txBody>
          <a:bodyPr/>
          <a:lstStyle>
            <a:lvl1pPr>
              <a:defRPr sz="1700"/>
            </a:lvl1pPr>
            <a:lvl2pPr>
              <a:defRPr sz="1700"/>
            </a:lvl2pPr>
            <a:lvl3pPr>
              <a:defRPr sz="1700"/>
            </a:lvl3pPr>
            <a:lvl4pPr>
              <a:defRPr sz="1700"/>
            </a:lvl4pPr>
            <a:lvl5pPr>
              <a:defRPr sz="1700"/>
            </a:lvl5pPr>
            <a:lvl6pPr>
              <a:defRPr sz="3060"/>
            </a:lvl6pPr>
            <a:lvl7pPr>
              <a:defRPr sz="3060"/>
            </a:lvl7pPr>
            <a:lvl8pPr>
              <a:defRPr sz="3060"/>
            </a:lvl8pPr>
            <a:lvl9pPr>
              <a:defRPr sz="306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8831580" y="1996085"/>
            <a:ext cx="7673340" cy="6987464"/>
          </a:xfrm>
          <a:prstGeom prst="rect">
            <a:avLst/>
          </a:prstGeom>
        </p:spPr>
        <p:txBody>
          <a:bodyPr/>
          <a:lstStyle>
            <a:lvl1pPr>
              <a:defRPr sz="1700"/>
            </a:lvl1pPr>
            <a:lvl2pPr>
              <a:defRPr sz="1700"/>
            </a:lvl2pPr>
            <a:lvl3pPr>
              <a:defRPr sz="1700"/>
            </a:lvl3pPr>
            <a:lvl4pPr>
              <a:defRPr sz="1700"/>
            </a:lvl4pPr>
            <a:lvl5pPr>
              <a:defRPr sz="1700"/>
            </a:lvl5pPr>
            <a:lvl6pPr>
              <a:defRPr sz="3060"/>
            </a:lvl6pPr>
            <a:lvl7pPr>
              <a:defRPr sz="3060"/>
            </a:lvl7pPr>
            <a:lvl8pPr>
              <a:defRPr sz="3060"/>
            </a:lvl8pPr>
            <a:lvl9pPr>
              <a:defRPr sz="306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43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68680" y="429158"/>
            <a:ext cx="15636240" cy="710594"/>
          </a:xfrm>
          <a:prstGeom prst="rect">
            <a:avLst/>
          </a:prstGeo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868680" y="1996093"/>
            <a:ext cx="5003596" cy="6994267"/>
          </a:xfrm>
          <a:prstGeom prst="rect">
            <a:avLst/>
          </a:prstGeom>
        </p:spPr>
        <p:txBody>
          <a:bodyPr/>
          <a:lstStyle>
            <a:lvl1pPr>
              <a:defRPr sz="2040">
                <a:solidFill>
                  <a:schemeClr val="tx1">
                    <a:lumMod val="65000"/>
                    <a:lumOff val="35000"/>
                  </a:schemeClr>
                </a:solidFill>
              </a:defRPr>
            </a:lvl1pPr>
            <a:lvl2pPr>
              <a:defRPr sz="1870">
                <a:solidFill>
                  <a:schemeClr val="tx1">
                    <a:lumMod val="65000"/>
                    <a:lumOff val="35000"/>
                  </a:schemeClr>
                </a:solidFill>
              </a:defRPr>
            </a:lvl2pPr>
            <a:lvl3pPr>
              <a:defRPr sz="1785">
                <a:solidFill>
                  <a:schemeClr val="tx1">
                    <a:lumMod val="65000"/>
                    <a:lumOff val="35000"/>
                  </a:schemeClr>
                </a:solidFill>
              </a:defRPr>
            </a:lvl3pPr>
            <a:lvl4pPr>
              <a:defRPr sz="1700">
                <a:solidFill>
                  <a:schemeClr val="tx1">
                    <a:lumMod val="65000"/>
                    <a:lumOff val="35000"/>
                  </a:schemeClr>
                </a:solidFill>
              </a:defRPr>
            </a:lvl4pPr>
            <a:lvl5pPr>
              <a:defRPr sz="1700">
                <a:solidFill>
                  <a:schemeClr val="tx1">
                    <a:lumMod val="65000"/>
                    <a:lumOff val="35000"/>
                  </a:schemeClr>
                </a:solidFill>
              </a:defRPr>
            </a:lvl5pPr>
            <a:lvl6pPr>
              <a:defRPr sz="2720"/>
            </a:lvl6pPr>
            <a:lvl7pPr>
              <a:defRPr sz="2720"/>
            </a:lvl7pPr>
            <a:lvl8pPr>
              <a:defRPr sz="2720"/>
            </a:lvl8pPr>
            <a:lvl9pPr>
              <a:defRPr sz="272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6185004" y="1996093"/>
            <a:ext cx="5003596" cy="6994267"/>
          </a:xfrm>
          <a:prstGeom prst="rect">
            <a:avLst/>
          </a:prstGeom>
        </p:spPr>
        <p:txBody>
          <a:bodyPr/>
          <a:lstStyle>
            <a:lvl1pPr>
              <a:defRPr sz="1700">
                <a:solidFill>
                  <a:schemeClr val="tx1">
                    <a:lumMod val="65000"/>
                    <a:lumOff val="35000"/>
                  </a:schemeClr>
                </a:solidFill>
              </a:defRPr>
            </a:lvl1pPr>
            <a:lvl2pPr>
              <a:defRPr sz="1700">
                <a:solidFill>
                  <a:schemeClr val="tx1">
                    <a:lumMod val="65000"/>
                    <a:lumOff val="35000"/>
                  </a:schemeClr>
                </a:solidFill>
              </a:defRPr>
            </a:lvl2pPr>
            <a:lvl3pPr>
              <a:defRPr sz="1700">
                <a:solidFill>
                  <a:schemeClr val="tx1">
                    <a:lumMod val="65000"/>
                    <a:lumOff val="35000"/>
                  </a:schemeClr>
                </a:solidFill>
              </a:defRPr>
            </a:lvl3pPr>
            <a:lvl4pPr>
              <a:defRPr sz="1700">
                <a:solidFill>
                  <a:schemeClr val="tx1">
                    <a:lumMod val="65000"/>
                    <a:lumOff val="35000"/>
                  </a:schemeClr>
                </a:solidFill>
              </a:defRPr>
            </a:lvl4pPr>
            <a:lvl5pPr>
              <a:defRPr sz="1700">
                <a:solidFill>
                  <a:schemeClr val="tx1">
                    <a:lumMod val="65000"/>
                    <a:lumOff val="35000"/>
                  </a:schemeClr>
                </a:solidFill>
              </a:defRPr>
            </a:lvl5pPr>
            <a:lvl6pPr>
              <a:defRPr sz="2720"/>
            </a:lvl6pPr>
            <a:lvl7pPr>
              <a:defRPr sz="2720"/>
            </a:lvl7pPr>
            <a:lvl8pPr>
              <a:defRPr sz="2720"/>
            </a:lvl8pPr>
            <a:lvl9pPr>
              <a:defRPr sz="272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3"/>
          </p:nvPr>
        </p:nvSpPr>
        <p:spPr>
          <a:xfrm>
            <a:off x="11501324" y="1996093"/>
            <a:ext cx="5003596" cy="6994267"/>
          </a:xfrm>
          <a:prstGeom prst="rect">
            <a:avLst/>
          </a:prstGeo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73611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187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Title-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16122"/>
            <a:ext cx="17373600" cy="13514250"/>
          </a:xfrm>
          <a:prstGeom prst="rect">
            <a:avLst/>
          </a:prstGeom>
        </p:spPr>
      </p:pic>
    </p:spTree>
    <p:extLst>
      <p:ext uri="{BB962C8B-B14F-4D97-AF65-F5344CB8AC3E}">
        <p14:creationId xmlns:p14="http://schemas.microsoft.com/office/powerpoint/2010/main" val="4047721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Title-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7761" y="9063841"/>
            <a:ext cx="3015650" cy="597698"/>
          </a:xfrm>
          <a:prstGeom prst="rect">
            <a:avLst/>
          </a:prstGeom>
        </p:spPr>
      </p:pic>
      <p:sp>
        <p:nvSpPr>
          <p:cNvPr id="5" name="Title 4"/>
          <p:cNvSpPr>
            <a:spLocks noGrp="1"/>
          </p:cNvSpPr>
          <p:nvPr>
            <p:ph type="title" hasCustomPrompt="1"/>
          </p:nvPr>
        </p:nvSpPr>
        <p:spPr>
          <a:xfrm>
            <a:off x="10134659" y="3463440"/>
            <a:ext cx="6770616" cy="2113860"/>
          </a:xfrm>
        </p:spPr>
        <p:txBody>
          <a:bodyPr/>
          <a:lstStyle>
            <a:lvl1pPr>
              <a:lnSpc>
                <a:spcPct val="100000"/>
              </a:lnSpc>
              <a:defRPr sz="6800" b="1" spc="0" baseline="0">
                <a:solidFill>
                  <a:schemeClr val="tx1"/>
                </a:solidFill>
                <a:latin typeface="Lato Black"/>
                <a:cs typeface="Lato Black"/>
              </a:defRPr>
            </a:lvl1pPr>
          </a:lstStyle>
          <a:p>
            <a:r>
              <a:rPr lang="en-US" dirty="0"/>
              <a:t>CLICK  TO ADD TITLE</a:t>
            </a:r>
          </a:p>
        </p:txBody>
      </p:sp>
      <p:sp>
        <p:nvSpPr>
          <p:cNvPr id="3" name="Text Placeholder 2"/>
          <p:cNvSpPr>
            <a:spLocks noGrp="1"/>
          </p:cNvSpPr>
          <p:nvPr>
            <p:ph type="body" sz="quarter" idx="10" hasCustomPrompt="1"/>
          </p:nvPr>
        </p:nvSpPr>
        <p:spPr>
          <a:xfrm>
            <a:off x="10158730" y="5699760"/>
            <a:ext cx="6756400" cy="1117600"/>
          </a:xfrm>
        </p:spPr>
        <p:txBody>
          <a:bodyPr/>
          <a:lstStyle>
            <a:lvl1pPr marL="0" indent="0">
              <a:buNone/>
              <a:defRPr sz="4759" b="1">
                <a:solidFill>
                  <a:schemeClr val="accent3"/>
                </a:solidFill>
                <a:latin typeface="Lato Regular"/>
                <a:cs typeface="Lato Regular"/>
              </a:defRPr>
            </a:lvl1pPr>
          </a:lstStyle>
          <a:p>
            <a:pPr lvl="0"/>
            <a:r>
              <a:rPr lang="en-US" dirty="0"/>
              <a:t>Click to add text</a:t>
            </a:r>
          </a:p>
        </p:txBody>
      </p:sp>
      <p:pic>
        <p:nvPicPr>
          <p:cNvPr id="2" name="Picture 1" descr="ITAS-logo.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785908" y="434848"/>
            <a:ext cx="2103771" cy="816212"/>
          </a:xfrm>
          <a:prstGeom prst="rect">
            <a:avLst/>
          </a:prstGeom>
        </p:spPr>
      </p:pic>
      <p:pic>
        <p:nvPicPr>
          <p:cNvPr id="7" name="Picture 6" descr="ITAS-PPTbackground1920x1080_2.jp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7373600" cy="10058400"/>
          </a:xfrm>
          <a:prstGeom prst="rect">
            <a:avLst/>
          </a:prstGeom>
        </p:spPr>
      </p:pic>
    </p:spTree>
    <p:extLst>
      <p:ext uri="{BB962C8B-B14F-4D97-AF65-F5344CB8AC3E}">
        <p14:creationId xmlns:p14="http://schemas.microsoft.com/office/powerpoint/2010/main" val="1888961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Intro">
    <p:spTree>
      <p:nvGrpSpPr>
        <p:cNvPr id="1" name=""/>
        <p:cNvGrpSpPr/>
        <p:nvPr/>
      </p:nvGrpSpPr>
      <p:grpSpPr>
        <a:xfrm>
          <a:off x="0" y="0"/>
          <a:ext cx="0" cy="0"/>
          <a:chOff x="0" y="0"/>
          <a:chExt cx="0" cy="0"/>
        </a:xfrm>
      </p:grpSpPr>
      <p:sp>
        <p:nvSpPr>
          <p:cNvPr id="3" name="Rectangle 2"/>
          <p:cNvSpPr/>
          <p:nvPr userDrawn="1"/>
        </p:nvSpPr>
        <p:spPr>
          <a:xfrm>
            <a:off x="0" y="9"/>
            <a:ext cx="17390974" cy="10071809"/>
          </a:xfrm>
          <a:prstGeom prst="rect">
            <a:avLst/>
          </a:prstGeom>
          <a:solidFill>
            <a:srgbClr val="E5223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Content Placeholder 2"/>
          <p:cNvSpPr>
            <a:spLocks noGrp="1"/>
          </p:cNvSpPr>
          <p:nvPr>
            <p:ph idx="1" hasCustomPrompt="1"/>
          </p:nvPr>
        </p:nvSpPr>
        <p:spPr>
          <a:xfrm>
            <a:off x="1091927" y="5117718"/>
            <a:ext cx="11776498" cy="645032"/>
          </a:xfrm>
        </p:spPr>
        <p:txBody>
          <a:bodyPr anchor="b"/>
          <a:lstStyle>
            <a:lvl1pPr marL="0" indent="0">
              <a:buNone/>
              <a:defRPr sz="4080" baseline="0">
                <a:solidFill>
                  <a:srgbClr val="FFFFFF"/>
                </a:solidFill>
              </a:defRPr>
            </a:lvl1pPr>
            <a:lvl2pPr>
              <a:defRPr>
                <a:solidFill>
                  <a:schemeClr val="tx1">
                    <a:lumMod val="65000"/>
                    <a:lumOff val="35000"/>
                  </a:schemeClr>
                </a:solidFill>
              </a:defRPr>
            </a:lvl2pPr>
          </a:lstStyle>
          <a:p>
            <a:pPr lvl="0"/>
            <a:r>
              <a:rPr lang="en-US" dirty="0"/>
              <a:t>Section Headline</a:t>
            </a:r>
          </a:p>
        </p:txBody>
      </p:sp>
      <p:sp>
        <p:nvSpPr>
          <p:cNvPr id="9" name="Content Placeholder 2"/>
          <p:cNvSpPr>
            <a:spLocks noGrp="1"/>
          </p:cNvSpPr>
          <p:nvPr>
            <p:ph idx="10" hasCustomPrompt="1"/>
          </p:nvPr>
        </p:nvSpPr>
        <p:spPr>
          <a:xfrm>
            <a:off x="1091927" y="5917310"/>
            <a:ext cx="11776498" cy="645032"/>
          </a:xfrm>
        </p:spPr>
        <p:txBody>
          <a:bodyPr anchor="b"/>
          <a:lstStyle>
            <a:lvl1pPr marL="0" indent="0">
              <a:buNone/>
              <a:defRPr sz="3060" baseline="0">
                <a:solidFill>
                  <a:srgbClr val="FFFFFF"/>
                </a:solidFill>
              </a:defRPr>
            </a:lvl1pPr>
            <a:lvl2pPr>
              <a:defRPr>
                <a:solidFill>
                  <a:schemeClr val="tx1">
                    <a:lumMod val="65000"/>
                    <a:lumOff val="35000"/>
                  </a:schemeClr>
                </a:solidFill>
              </a:defRPr>
            </a:lvl2pPr>
          </a:lstStyle>
          <a:p>
            <a:pPr lvl="0"/>
            <a:r>
              <a:rPr lang="en-US" dirty="0"/>
              <a:t>Section </a:t>
            </a:r>
            <a:r>
              <a:rPr lang="en-US" dirty="0" err="1"/>
              <a:t>SubHead</a:t>
            </a:r>
            <a:endParaRPr lang="en-US" dirty="0"/>
          </a:p>
        </p:txBody>
      </p:sp>
      <p:sp>
        <p:nvSpPr>
          <p:cNvPr id="12" name="Text Placeholder 10"/>
          <p:cNvSpPr txBox="1">
            <a:spLocks/>
          </p:cNvSpPr>
          <p:nvPr userDrawn="1"/>
        </p:nvSpPr>
        <p:spPr bwMode="auto">
          <a:xfrm>
            <a:off x="16246833" y="9307371"/>
            <a:ext cx="1307746"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chemeClr val="bg1">
                    <a:lumMod val="65000"/>
                  </a:schemeClr>
                </a:solidFill>
                <a:cs typeface="Arial" pitchFamily="34" charset="0"/>
                <a:sym typeface="Arial" pitchFamily="34" charset="0"/>
              </a:rPr>
              <a:t>  </a:t>
            </a:r>
            <a:endParaRPr lang="en-US" sz="1530" dirty="0">
              <a:solidFill>
                <a:srgbClr val="FFFFFF"/>
              </a:solidFill>
              <a:cs typeface="Arial" pitchFamily="34" charset="0"/>
              <a:sym typeface="Arial" pitchFamily="34" charset="0"/>
            </a:endParaRPr>
          </a:p>
        </p:txBody>
      </p:sp>
      <p:pic>
        <p:nvPicPr>
          <p:cNvPr id="10" name="Picture 9" descr="ITAS-PPT-Footer.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400238"/>
            <a:ext cx="17373600" cy="658162"/>
          </a:xfrm>
          <a:prstGeom prst="rect">
            <a:avLst/>
          </a:prstGeom>
        </p:spPr>
      </p:pic>
      <p:sp>
        <p:nvSpPr>
          <p:cNvPr id="13" name="Text Placeholder 10"/>
          <p:cNvSpPr txBox="1">
            <a:spLocks/>
          </p:cNvSpPr>
          <p:nvPr userDrawn="1"/>
        </p:nvSpPr>
        <p:spPr bwMode="auto">
          <a:xfrm>
            <a:off x="16246833" y="9278151"/>
            <a:ext cx="1307746"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chemeClr val="bg1">
                    <a:lumMod val="65000"/>
                  </a:schemeClr>
                </a:solidFill>
                <a:cs typeface="Arial" pitchFamily="34" charset="0"/>
                <a:sym typeface="Arial" pitchFamily="34" charset="0"/>
              </a:rPr>
              <a:t>  </a:t>
            </a:r>
            <a:fld id="{C1209FD9-C7F3-4875-AF7D-3292D13E6022}" type="slidenum">
              <a:rPr lang="en-US" sz="1530">
                <a:solidFill>
                  <a:srgbClr val="FFFFFF"/>
                </a:solidFill>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32467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868680" y="429158"/>
            <a:ext cx="15636240" cy="710594"/>
          </a:xfrm>
          <a:prstGeom prst="rect">
            <a:avLst/>
          </a:prstGeom>
          <a:noFill/>
          <a:ln w="9525">
            <a:noFill/>
            <a:miter lim="800000"/>
            <a:headEnd/>
            <a:tailEnd/>
          </a:ln>
        </p:spPr>
        <p:txBody>
          <a:bodyPr vert="horz" wrap="square" lIns="0" tIns="0" rIns="91342" bIns="0" numCol="1" anchor="ctr" anchorCtr="0" compatLnSpc="1">
            <a:prstTxWarp prst="textNoShape">
              <a:avLst/>
            </a:prstTxWarp>
          </a:bodyPr>
          <a:lstStyle/>
          <a:p>
            <a:pPr lvl="0"/>
            <a:r>
              <a:rPr lang="en-US" dirty="0"/>
              <a:t>Click to edit Master title style</a:t>
            </a:r>
          </a:p>
        </p:txBody>
      </p:sp>
      <p:sp>
        <p:nvSpPr>
          <p:cNvPr id="5" name="Text Placeholder 2"/>
          <p:cNvSpPr>
            <a:spLocks noGrp="1"/>
          </p:cNvSpPr>
          <p:nvPr>
            <p:ph idx="1"/>
          </p:nvPr>
        </p:nvSpPr>
        <p:spPr bwMode="auto">
          <a:xfrm>
            <a:off x="868680" y="2027282"/>
            <a:ext cx="15636240" cy="69577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50823" indent="-350823">
              <a:defRPr/>
            </a:lvl1pPr>
          </a:lstStyle>
          <a:p>
            <a:pPr lvl="0"/>
            <a:r>
              <a:rPr lang="en-US" dirty="0"/>
              <a:t>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1779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NO Background">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868680" y="429158"/>
            <a:ext cx="15636240" cy="710594"/>
          </a:xfrm>
          <a:prstGeom prst="rect">
            <a:avLst/>
          </a:prstGeom>
          <a:noFill/>
          <a:ln w="9525">
            <a:noFill/>
            <a:miter lim="800000"/>
            <a:headEnd/>
            <a:tailEnd/>
          </a:ln>
        </p:spPr>
        <p:txBody>
          <a:bodyPr vert="horz" wrap="square" lIns="0" tIns="0" rIns="91342" bIns="0" numCol="1" anchor="ctr" anchorCtr="0" compatLnSpc="1">
            <a:prstTxWarp prst="textNoShape">
              <a:avLst/>
            </a:prstTxWarp>
          </a:bodyPr>
          <a:lstStyle/>
          <a:p>
            <a:pPr lvl="0"/>
            <a:r>
              <a:rPr lang="en-US" dirty="0"/>
              <a:t>Click to edit Master title style</a:t>
            </a:r>
          </a:p>
        </p:txBody>
      </p:sp>
      <p:sp>
        <p:nvSpPr>
          <p:cNvPr id="5" name="Text Placeholder 2"/>
          <p:cNvSpPr>
            <a:spLocks noGrp="1"/>
          </p:cNvSpPr>
          <p:nvPr>
            <p:ph idx="1"/>
          </p:nvPr>
        </p:nvSpPr>
        <p:spPr bwMode="auto">
          <a:xfrm>
            <a:off x="868680" y="2027282"/>
            <a:ext cx="15636240" cy="69577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50823" indent="-350823">
              <a:defRPr/>
            </a:lvl1pPr>
          </a:lstStyle>
          <a:p>
            <a:pPr lvl="0"/>
            <a:r>
              <a:rPr lang="en-US" dirty="0"/>
              <a:t>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ctangle 5"/>
          <p:cNvSpPr/>
          <p:nvPr userDrawn="1"/>
        </p:nvSpPr>
        <p:spPr>
          <a:xfrm>
            <a:off x="0" y="9409156"/>
            <a:ext cx="17373600" cy="649244"/>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ext Placeholder 10"/>
          <p:cNvSpPr txBox="1">
            <a:spLocks/>
          </p:cNvSpPr>
          <p:nvPr userDrawn="1"/>
        </p:nvSpPr>
        <p:spPr bwMode="auto">
          <a:xfrm>
            <a:off x="16246833" y="9307371"/>
            <a:ext cx="1307746"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chemeClr val="bg1">
                    <a:lumMod val="65000"/>
                  </a:schemeClr>
                </a:solidFill>
                <a:cs typeface="Arial" pitchFamily="34" charset="0"/>
                <a:sym typeface="Arial" pitchFamily="34" charset="0"/>
              </a:rPr>
              <a:t>  </a:t>
            </a:r>
            <a:fld id="{C1209FD9-C7F3-4875-AF7D-3292D13E6022}" type="slidenum">
              <a:rPr lang="en-US" sz="1530">
                <a:solidFill>
                  <a:srgbClr val="FFFFFF"/>
                </a:solidFill>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cs typeface="Arial" pitchFamily="34" charset="0"/>
              <a:sym typeface="Arial" pitchFamily="34" charset="0"/>
            </a:endParaRPr>
          </a:p>
        </p:txBody>
      </p:sp>
      <p:pic>
        <p:nvPicPr>
          <p:cNvPr id="9" name="Picture 8"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30205" y="9474717"/>
            <a:ext cx="4928956" cy="548526"/>
          </a:xfrm>
          <a:prstGeom prst="rect">
            <a:avLst/>
          </a:prstGeom>
        </p:spPr>
      </p:pic>
      <p:pic>
        <p:nvPicPr>
          <p:cNvPr id="13" name="Picture 12" descr="ITAS-Horizontal-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986463" y="9594822"/>
            <a:ext cx="3437274" cy="269757"/>
          </a:xfrm>
          <a:prstGeom prst="rect">
            <a:avLst/>
          </a:prstGeom>
        </p:spPr>
      </p:pic>
    </p:spTree>
    <p:extLst>
      <p:ext uri="{BB962C8B-B14F-4D97-AF65-F5344CB8AC3E}">
        <p14:creationId xmlns:p14="http://schemas.microsoft.com/office/powerpoint/2010/main" val="961203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5822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2" name="Rectangle 1"/>
          <p:cNvSpPr/>
          <p:nvPr userDrawn="1"/>
        </p:nvSpPr>
        <p:spPr>
          <a:xfrm>
            <a:off x="0" y="0"/>
            <a:ext cx="17373600" cy="941706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xt Placeholder 9"/>
          <p:cNvSpPr>
            <a:spLocks noGrp="1"/>
          </p:cNvSpPr>
          <p:nvPr>
            <p:ph type="body" sz="quarter" idx="10" hasCustomPrompt="1"/>
          </p:nvPr>
        </p:nvSpPr>
        <p:spPr>
          <a:xfrm>
            <a:off x="0" y="3699729"/>
            <a:ext cx="17373600" cy="1430063"/>
          </a:xfrm>
        </p:spPr>
        <p:txBody>
          <a:bodyPr/>
          <a:lstStyle>
            <a:lvl1pPr marL="0" indent="0" algn="ctr">
              <a:buNone/>
              <a:defRPr sz="8840">
                <a:solidFill>
                  <a:srgbClr val="FFFFFF"/>
                </a:solidFill>
                <a:latin typeface="Lato Bold"/>
                <a:cs typeface="Lato Bold"/>
              </a:defRPr>
            </a:lvl1pPr>
          </a:lstStyle>
          <a:p>
            <a:pPr lvl="0"/>
            <a:r>
              <a:rPr lang="en-US" dirty="0"/>
              <a:t>Click to edit Title</a:t>
            </a:r>
          </a:p>
        </p:txBody>
      </p:sp>
      <p:sp>
        <p:nvSpPr>
          <p:cNvPr id="16" name="Text Placeholder 15"/>
          <p:cNvSpPr>
            <a:spLocks noGrp="1"/>
          </p:cNvSpPr>
          <p:nvPr>
            <p:ph type="body" sz="quarter" idx="11" hasCustomPrompt="1"/>
          </p:nvPr>
        </p:nvSpPr>
        <p:spPr>
          <a:xfrm>
            <a:off x="3262378" y="5128860"/>
            <a:ext cx="10887458" cy="3532083"/>
          </a:xfrm>
        </p:spPr>
        <p:txBody>
          <a:bodyPr/>
          <a:lstStyle>
            <a:lvl1pPr marL="0" marR="0" indent="0" algn="ctr" defTabSz="774508" rtl="0" eaLnBrk="1" fontAlgn="base" latinLnBrk="0" hangingPunct="1">
              <a:lnSpc>
                <a:spcPts val="4759"/>
              </a:lnSpc>
              <a:spcBef>
                <a:spcPts val="0"/>
              </a:spcBef>
              <a:spcAft>
                <a:spcPct val="0"/>
              </a:spcAft>
              <a:buClr>
                <a:schemeClr val="accent1"/>
              </a:buClr>
              <a:buSzTx/>
              <a:buFont typeface="Arial"/>
              <a:buNone/>
              <a:tabLst/>
              <a:defRPr sz="2890">
                <a:solidFill>
                  <a:srgbClr val="FFFFFF"/>
                </a:solidFill>
                <a:latin typeface="Lato Light"/>
                <a:cs typeface="Lato Light"/>
              </a:defRPr>
            </a:lvl1pPr>
            <a:lvl2pPr marL="528932" indent="0" algn="ctr">
              <a:buNone/>
              <a:defRPr sz="2720">
                <a:solidFill>
                  <a:srgbClr val="FFFFFF"/>
                </a:solidFill>
                <a:latin typeface="Georgia"/>
                <a:cs typeface="Georgia"/>
              </a:defRPr>
            </a:lvl2pPr>
            <a:lvl3pPr marL="1152316" indent="0" algn="ctr">
              <a:buNone/>
              <a:defRPr sz="2720">
                <a:solidFill>
                  <a:srgbClr val="FFFFFF"/>
                </a:solidFill>
                <a:latin typeface="Georgia"/>
                <a:cs typeface="Georgia"/>
              </a:defRPr>
            </a:lvl3pPr>
            <a:lvl4pPr marL="1616481" indent="0" algn="ctr">
              <a:buNone/>
              <a:defRPr sz="2720">
                <a:solidFill>
                  <a:srgbClr val="FFFFFF"/>
                </a:solidFill>
                <a:latin typeface="Georgia"/>
                <a:cs typeface="Georgia"/>
              </a:defRPr>
            </a:lvl4pPr>
            <a:lvl5pPr marL="2083343" indent="0" algn="ctr">
              <a:buNone/>
              <a:defRPr sz="2720">
                <a:solidFill>
                  <a:srgbClr val="FFFFFF"/>
                </a:solidFill>
                <a:latin typeface="Georgia"/>
                <a:cs typeface="Georgia"/>
              </a:defRPr>
            </a:lvl5pPr>
          </a:lstStyle>
          <a:p>
            <a:pPr lvl="0"/>
            <a:r>
              <a:rPr lang="en-US" dirty="0"/>
              <a:t>Click to edit Description</a:t>
            </a:r>
          </a:p>
        </p:txBody>
      </p:sp>
      <p:sp>
        <p:nvSpPr>
          <p:cNvPr id="8" name="Text Placeholder 10"/>
          <p:cNvSpPr txBox="1">
            <a:spLocks/>
          </p:cNvSpPr>
          <p:nvPr userDrawn="1"/>
        </p:nvSpPr>
        <p:spPr bwMode="auto">
          <a:xfrm>
            <a:off x="16246833" y="9307371"/>
            <a:ext cx="1307746"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chemeClr val="bg1">
                    <a:lumMod val="65000"/>
                  </a:schemeClr>
                </a:solidFill>
                <a:cs typeface="Arial" pitchFamily="34" charset="0"/>
                <a:sym typeface="Arial" pitchFamily="34" charset="0"/>
              </a:rPr>
              <a:t>  </a:t>
            </a:r>
            <a:fld id="{C1209FD9-C7F3-4875-AF7D-3292D13E6022}" type="slidenum">
              <a:rPr lang="en-US" sz="1530">
                <a:solidFill>
                  <a:srgbClr val="FFFFFF"/>
                </a:solidFill>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cs typeface="Arial" pitchFamily="34" charset="0"/>
              <a:sym typeface="Arial" pitchFamily="34" charset="0"/>
            </a:endParaRPr>
          </a:p>
        </p:txBody>
      </p:sp>
      <p:pic>
        <p:nvPicPr>
          <p:cNvPr id="11" name="Picture 10"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30205" y="9474717"/>
            <a:ext cx="4928956" cy="548526"/>
          </a:xfrm>
          <a:prstGeom prst="rect">
            <a:avLst/>
          </a:prstGeom>
        </p:spPr>
      </p:pic>
      <p:pic>
        <p:nvPicPr>
          <p:cNvPr id="12" name="Picture 11" descr="ITAS-Horizontal-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986463" y="9594822"/>
            <a:ext cx="3437274" cy="269757"/>
          </a:xfrm>
          <a:prstGeom prst="rect">
            <a:avLst/>
          </a:prstGeom>
        </p:spPr>
      </p:pic>
      <p:pic>
        <p:nvPicPr>
          <p:cNvPr id="15" name="Picture 14" descr="ITAS-PPT-Footer.jp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9414848"/>
            <a:ext cx="17373600" cy="658162"/>
          </a:xfrm>
          <a:prstGeom prst="rect">
            <a:avLst/>
          </a:prstGeom>
        </p:spPr>
      </p:pic>
      <p:sp>
        <p:nvSpPr>
          <p:cNvPr id="17" name="Text Placeholder 10"/>
          <p:cNvSpPr txBox="1">
            <a:spLocks/>
          </p:cNvSpPr>
          <p:nvPr userDrawn="1"/>
        </p:nvSpPr>
        <p:spPr bwMode="auto">
          <a:xfrm>
            <a:off x="16246833" y="9292761"/>
            <a:ext cx="1307746"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chemeClr val="bg1">
                    <a:lumMod val="65000"/>
                  </a:schemeClr>
                </a:solidFill>
                <a:cs typeface="Arial" pitchFamily="34" charset="0"/>
                <a:sym typeface="Arial" pitchFamily="34" charset="0"/>
              </a:rPr>
              <a:t>  </a:t>
            </a:r>
            <a:fld id="{C1209FD9-C7F3-4875-AF7D-3292D13E6022}" type="slidenum">
              <a:rPr lang="en-US" sz="1530">
                <a:solidFill>
                  <a:srgbClr val="FFFFFF"/>
                </a:solidFill>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997330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85386" y="2507617"/>
            <a:ext cx="14984730" cy="4184014"/>
          </a:xfrm>
        </p:spPr>
        <p:txBody>
          <a:bodyPr anchor="b"/>
          <a:lstStyle>
            <a:lvl1pPr>
              <a:defRPr sz="10364"/>
            </a:lvl1pPr>
          </a:lstStyle>
          <a:p>
            <a:r>
              <a:rPr lang="en-US" dirty="0"/>
              <a:t>Click to edit Master title style</a:t>
            </a:r>
          </a:p>
        </p:txBody>
      </p:sp>
      <p:sp>
        <p:nvSpPr>
          <p:cNvPr id="3" name="Text Placeholder 2"/>
          <p:cNvSpPr>
            <a:spLocks noGrp="1"/>
          </p:cNvSpPr>
          <p:nvPr>
            <p:ph type="body" idx="1"/>
          </p:nvPr>
        </p:nvSpPr>
        <p:spPr>
          <a:xfrm>
            <a:off x="1185386" y="6731213"/>
            <a:ext cx="14984730" cy="2200274"/>
          </a:xfrm>
        </p:spPr>
        <p:txBody>
          <a:bodyPr/>
          <a:lstStyle>
            <a:lvl1pPr marL="0" indent="0">
              <a:buNone/>
              <a:defRPr sz="4146">
                <a:solidFill>
                  <a:schemeClr val="tx1">
                    <a:tint val="75000"/>
                  </a:schemeClr>
                </a:solidFill>
              </a:defRPr>
            </a:lvl1pPr>
            <a:lvl2pPr marL="789722" indent="0">
              <a:buNone/>
              <a:defRPr sz="3455">
                <a:solidFill>
                  <a:schemeClr val="tx1">
                    <a:tint val="75000"/>
                  </a:schemeClr>
                </a:solidFill>
              </a:defRPr>
            </a:lvl2pPr>
            <a:lvl3pPr marL="1579443" indent="0">
              <a:buNone/>
              <a:defRPr sz="3109">
                <a:solidFill>
                  <a:schemeClr val="tx1">
                    <a:tint val="75000"/>
                  </a:schemeClr>
                </a:solidFill>
              </a:defRPr>
            </a:lvl3pPr>
            <a:lvl4pPr marL="2369165" indent="0">
              <a:buNone/>
              <a:defRPr sz="2764">
                <a:solidFill>
                  <a:schemeClr val="tx1">
                    <a:tint val="75000"/>
                  </a:schemeClr>
                </a:solidFill>
              </a:defRPr>
            </a:lvl4pPr>
            <a:lvl5pPr marL="3158886" indent="0">
              <a:buNone/>
              <a:defRPr sz="2764">
                <a:solidFill>
                  <a:schemeClr val="tx1">
                    <a:tint val="75000"/>
                  </a:schemeClr>
                </a:solidFill>
              </a:defRPr>
            </a:lvl5pPr>
            <a:lvl6pPr marL="3948608" indent="0">
              <a:buNone/>
              <a:defRPr sz="2764">
                <a:solidFill>
                  <a:schemeClr val="tx1">
                    <a:tint val="75000"/>
                  </a:schemeClr>
                </a:solidFill>
              </a:defRPr>
            </a:lvl6pPr>
            <a:lvl7pPr marL="4738329" indent="0">
              <a:buNone/>
              <a:defRPr sz="2764">
                <a:solidFill>
                  <a:schemeClr val="tx1">
                    <a:tint val="75000"/>
                  </a:schemeClr>
                </a:solidFill>
              </a:defRPr>
            </a:lvl7pPr>
            <a:lvl8pPr marL="5528051" indent="0">
              <a:buNone/>
              <a:defRPr sz="2764">
                <a:solidFill>
                  <a:schemeClr val="tx1">
                    <a:tint val="75000"/>
                  </a:schemeClr>
                </a:solidFill>
              </a:defRPr>
            </a:lvl8pPr>
            <a:lvl9pPr marL="6317772" indent="0">
              <a:buNone/>
              <a:defRPr sz="2764">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760229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8682" y="1996085"/>
            <a:ext cx="7673340" cy="6987464"/>
          </a:xfrm>
        </p:spPr>
        <p:txBody>
          <a:bodyPr/>
          <a:lstStyle>
            <a:lvl1pPr>
              <a:defRPr sz="1700"/>
            </a:lvl1pPr>
            <a:lvl2pPr>
              <a:defRPr sz="1700"/>
            </a:lvl2pPr>
            <a:lvl3pPr>
              <a:defRPr sz="1700"/>
            </a:lvl3pPr>
            <a:lvl4pPr>
              <a:defRPr sz="1700"/>
            </a:lvl4pPr>
            <a:lvl5pPr>
              <a:defRPr sz="1700"/>
            </a:lvl5pPr>
            <a:lvl6pPr>
              <a:defRPr sz="3060"/>
            </a:lvl6pPr>
            <a:lvl7pPr>
              <a:defRPr sz="3060"/>
            </a:lvl7pPr>
            <a:lvl8pPr>
              <a:defRPr sz="3060"/>
            </a:lvl8pPr>
            <a:lvl9pPr>
              <a:defRPr sz="306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8831580" y="1996085"/>
            <a:ext cx="7673340" cy="6987464"/>
          </a:xfrm>
        </p:spPr>
        <p:txBody>
          <a:bodyPr/>
          <a:lstStyle>
            <a:lvl1pPr>
              <a:defRPr sz="1700"/>
            </a:lvl1pPr>
            <a:lvl2pPr>
              <a:defRPr sz="1700"/>
            </a:lvl2pPr>
            <a:lvl3pPr>
              <a:defRPr sz="1700"/>
            </a:lvl3pPr>
            <a:lvl4pPr>
              <a:defRPr sz="1700"/>
            </a:lvl4pPr>
            <a:lvl5pPr>
              <a:defRPr sz="1700"/>
            </a:lvl5pPr>
            <a:lvl6pPr>
              <a:defRPr sz="3060"/>
            </a:lvl6pPr>
            <a:lvl7pPr>
              <a:defRPr sz="3060"/>
            </a:lvl7pPr>
            <a:lvl8pPr>
              <a:defRPr sz="3060"/>
            </a:lvl8pPr>
            <a:lvl9pPr>
              <a:defRPr sz="306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77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868680" y="1996093"/>
            <a:ext cx="5003596" cy="6994267"/>
          </a:xfrm>
        </p:spPr>
        <p:txBody>
          <a:bodyPr/>
          <a:lstStyle>
            <a:lvl1pPr>
              <a:defRPr sz="2040">
                <a:solidFill>
                  <a:schemeClr val="tx1">
                    <a:lumMod val="65000"/>
                    <a:lumOff val="35000"/>
                  </a:schemeClr>
                </a:solidFill>
              </a:defRPr>
            </a:lvl1pPr>
            <a:lvl2pPr>
              <a:defRPr sz="1870">
                <a:solidFill>
                  <a:schemeClr val="tx1">
                    <a:lumMod val="65000"/>
                    <a:lumOff val="35000"/>
                  </a:schemeClr>
                </a:solidFill>
              </a:defRPr>
            </a:lvl2pPr>
            <a:lvl3pPr>
              <a:defRPr sz="1785">
                <a:solidFill>
                  <a:schemeClr val="tx1">
                    <a:lumMod val="65000"/>
                    <a:lumOff val="35000"/>
                  </a:schemeClr>
                </a:solidFill>
              </a:defRPr>
            </a:lvl3pPr>
            <a:lvl4pPr>
              <a:defRPr sz="1700">
                <a:solidFill>
                  <a:schemeClr val="tx1">
                    <a:lumMod val="65000"/>
                    <a:lumOff val="35000"/>
                  </a:schemeClr>
                </a:solidFill>
              </a:defRPr>
            </a:lvl4pPr>
            <a:lvl5pPr>
              <a:defRPr sz="1700">
                <a:solidFill>
                  <a:schemeClr val="tx1">
                    <a:lumMod val="65000"/>
                    <a:lumOff val="35000"/>
                  </a:schemeClr>
                </a:solidFill>
              </a:defRPr>
            </a:lvl5pPr>
            <a:lvl6pPr>
              <a:defRPr sz="2720"/>
            </a:lvl6pPr>
            <a:lvl7pPr>
              <a:defRPr sz="2720"/>
            </a:lvl7pPr>
            <a:lvl8pPr>
              <a:defRPr sz="2720"/>
            </a:lvl8pPr>
            <a:lvl9pPr>
              <a:defRPr sz="272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6185004" y="1996093"/>
            <a:ext cx="5003596" cy="6994267"/>
          </a:xfrm>
        </p:spPr>
        <p:txBody>
          <a:bodyPr/>
          <a:lstStyle>
            <a:lvl1pPr>
              <a:defRPr sz="1700">
                <a:solidFill>
                  <a:schemeClr val="tx1">
                    <a:lumMod val="65000"/>
                    <a:lumOff val="35000"/>
                  </a:schemeClr>
                </a:solidFill>
              </a:defRPr>
            </a:lvl1pPr>
            <a:lvl2pPr>
              <a:defRPr sz="1700">
                <a:solidFill>
                  <a:schemeClr val="tx1">
                    <a:lumMod val="65000"/>
                    <a:lumOff val="35000"/>
                  </a:schemeClr>
                </a:solidFill>
              </a:defRPr>
            </a:lvl2pPr>
            <a:lvl3pPr>
              <a:defRPr sz="1700">
                <a:solidFill>
                  <a:schemeClr val="tx1">
                    <a:lumMod val="65000"/>
                    <a:lumOff val="35000"/>
                  </a:schemeClr>
                </a:solidFill>
              </a:defRPr>
            </a:lvl3pPr>
            <a:lvl4pPr>
              <a:defRPr sz="1700">
                <a:solidFill>
                  <a:schemeClr val="tx1">
                    <a:lumMod val="65000"/>
                    <a:lumOff val="35000"/>
                  </a:schemeClr>
                </a:solidFill>
              </a:defRPr>
            </a:lvl4pPr>
            <a:lvl5pPr>
              <a:defRPr sz="1700">
                <a:solidFill>
                  <a:schemeClr val="tx1">
                    <a:lumMod val="65000"/>
                    <a:lumOff val="35000"/>
                  </a:schemeClr>
                </a:solidFill>
              </a:defRPr>
            </a:lvl5pPr>
            <a:lvl6pPr>
              <a:defRPr sz="2720"/>
            </a:lvl6pPr>
            <a:lvl7pPr>
              <a:defRPr sz="2720"/>
            </a:lvl7pPr>
            <a:lvl8pPr>
              <a:defRPr sz="2720"/>
            </a:lvl8pPr>
            <a:lvl9pPr>
              <a:defRPr sz="272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3"/>
          </p:nvPr>
        </p:nvSpPr>
        <p:spPr>
          <a:xfrm>
            <a:off x="11501324" y="1996093"/>
            <a:ext cx="5003596" cy="6994267"/>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3484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7664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nvPr>
        </p:nvGraphicFramePr>
        <p:xfrm>
          <a:off x="3" y="7"/>
          <a:ext cx="307770" cy="237563"/>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3" y="7"/>
                        <a:ext cx="307770" cy="237563"/>
                      </a:xfrm>
                      <a:prstGeom prst="rect">
                        <a:avLst/>
                      </a:prstGeom>
                    </p:spPr>
                  </p:pic>
                </p:oleObj>
              </mc:Fallback>
            </mc:AlternateContent>
          </a:graphicData>
        </a:graphic>
      </p:graphicFrame>
      <p:pic>
        <p:nvPicPr>
          <p:cNvPr id="19952" name="Picture 496" descr="C:\Users\Suzanne Laz\Desktop\iStock_000030510148Large.png"/>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t="-5212"/>
          <a:stretch/>
        </p:blipFill>
        <p:spPr bwMode="auto">
          <a:xfrm>
            <a:off x="0" y="-285074"/>
            <a:ext cx="17373600" cy="940272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bwMode="ltGray">
          <a:xfrm>
            <a:off x="0" y="1012020"/>
            <a:ext cx="17373600" cy="19355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anchor="ctr" anchorCtr="0" compatLnSpc="1">
            <a:prstTxWarp prst="textNoShape">
              <a:avLst/>
            </a:prstTxWarp>
          </a:bodyPr>
          <a:lstStyle/>
          <a:p>
            <a:pPr algn="ctr" defTabSz="1188930"/>
            <a:endParaRPr lang="en-US" sz="2341" dirty="0">
              <a:solidFill>
                <a:srgbClr val="FFFFFF"/>
              </a:solidFill>
              <a:cs typeface="Arial" pitchFamily="34" charset="0"/>
            </a:endParaRPr>
          </a:p>
        </p:txBody>
      </p:sp>
      <p:sp>
        <p:nvSpPr>
          <p:cNvPr id="13314" name="Rectangle 1026"/>
          <p:cNvSpPr>
            <a:spLocks noGrp="1" noChangeArrowheads="1"/>
          </p:cNvSpPr>
          <p:nvPr userDrawn="1">
            <p:ph type="ctrTitle"/>
          </p:nvPr>
        </p:nvSpPr>
        <p:spPr bwMode="auto">
          <a:xfrm>
            <a:off x="3193833" y="6596651"/>
            <a:ext cx="12998654" cy="640625"/>
          </a:xfrm>
          <a:prstGeom prst="rect">
            <a:avLst/>
          </a:prstGeom>
        </p:spPr>
        <p:txBody>
          <a:bodyPr wrap="square" anchor="b" anchorCtr="0">
            <a:spAutoFit/>
          </a:bodyPr>
          <a:lstStyle>
            <a:lvl1pPr>
              <a:defRPr sz="4163"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userDrawn="1">
            <p:ph type="subTitle" idx="1" hasCustomPrompt="1"/>
          </p:nvPr>
        </p:nvSpPr>
        <p:spPr bwMode="auto">
          <a:xfrm>
            <a:off x="3193833" y="7792664"/>
            <a:ext cx="12998654" cy="360227"/>
          </a:xfrm>
        </p:spPr>
        <p:txBody>
          <a:bodyPr wrap="square" anchor="ctr" anchorCtr="0">
            <a:spAutoFit/>
          </a:bodyPr>
          <a:lstStyle>
            <a:lvl1pPr>
              <a:defRPr sz="2341" baseline="0">
                <a:solidFill>
                  <a:schemeClr val="accent6"/>
                </a:solidFill>
                <a:latin typeface="+mj-lt"/>
                <a:ea typeface="+mj-ea"/>
              </a:defRPr>
            </a:lvl1pPr>
          </a:lstStyle>
          <a:p>
            <a:pPr lvl="0"/>
            <a:r>
              <a:rPr lang="en-US" noProof="0" dirty="0"/>
              <a:t>Subtitle</a:t>
            </a:r>
          </a:p>
        </p:txBody>
      </p:sp>
      <p:sp>
        <p:nvSpPr>
          <p:cNvPr id="24" name="Rectangle 1027"/>
          <p:cNvSpPr txBox="1">
            <a:spLocks noChangeArrowheads="1"/>
          </p:cNvSpPr>
          <p:nvPr userDrawn="1"/>
        </p:nvSpPr>
        <p:spPr bwMode="auto">
          <a:xfrm>
            <a:off x="12445036" y="9657575"/>
            <a:ext cx="4089898" cy="320088"/>
          </a:xfrm>
          <a:prstGeom prst="rect">
            <a:avLst/>
          </a:prstGeom>
        </p:spPr>
        <p:txBody>
          <a:bodyPr vert="horz" wrap="square" lIns="0" tIns="0" rIns="0" bIns="0" rtlCol="0" anchor="ctr">
            <a:spAutoFit/>
          </a:bodyPr>
          <a:lstStyle>
            <a:defPPr>
              <a:defRPr lang="en-US"/>
            </a:defPPr>
            <a:lvl1pPr algn="ctr">
              <a:defRPr sz="800">
                <a:solidFill>
                  <a:srgbClr val="808080"/>
                </a:solidFill>
              </a:defRPr>
            </a:lvl1pPr>
          </a:lstStyle>
          <a:p>
            <a:pPr algn="r"/>
            <a:r>
              <a:rPr lang="en-US" sz="1040" dirty="0"/>
              <a:t>CONFIDENTIAL | DOCUMENT USE IN ACCORDANCE WITH COMPANY POLICIES</a:t>
            </a:r>
          </a:p>
        </p:txBody>
      </p:sp>
      <p:grpSp>
        <p:nvGrpSpPr>
          <p:cNvPr id="15" name="McK Title Elements" hidden="1"/>
          <p:cNvGrpSpPr>
            <a:grpSpLocks/>
          </p:cNvGrpSpPr>
          <p:nvPr userDrawn="1"/>
        </p:nvGrpSpPr>
        <p:grpSpPr bwMode="auto">
          <a:xfrm>
            <a:off x="3368541" y="8708278"/>
            <a:ext cx="9605494" cy="724567"/>
            <a:chOff x="1663" y="3106"/>
            <a:chExt cx="3109" cy="305"/>
          </a:xfrm>
        </p:grpSpPr>
        <p:sp>
          <p:nvSpPr>
            <p:cNvPr id="16"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821" dirty="0">
                  <a:solidFill>
                    <a:srgbClr val="808080"/>
                  </a:solidFill>
                  <a:latin typeface="Arial"/>
                </a:rPr>
                <a:t>Document type</a:t>
              </a:r>
            </a:p>
          </p:txBody>
        </p:sp>
        <p:sp>
          <p:nvSpPr>
            <p:cNvPr id="17"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821" dirty="0">
                  <a:solidFill>
                    <a:srgbClr val="808080"/>
                  </a:solidFill>
                  <a:latin typeface="Arial"/>
                </a:rPr>
                <a:t>Date</a:t>
              </a:r>
            </a:p>
          </p:txBody>
        </p:sp>
      </p:grpSp>
      <p:grpSp>
        <p:nvGrpSpPr>
          <p:cNvPr id="2" name="Group 1"/>
          <p:cNvGrpSpPr/>
          <p:nvPr userDrawn="1"/>
        </p:nvGrpSpPr>
        <p:grpSpPr>
          <a:xfrm>
            <a:off x="3193835" y="1218342"/>
            <a:ext cx="10985954" cy="930872"/>
            <a:chOff x="1558044" y="1890472"/>
            <a:chExt cx="5666640" cy="622050"/>
          </a:xfrm>
        </p:grpSpPr>
        <p:pic>
          <p:nvPicPr>
            <p:cNvPr id="19462" name="Picture 5" descr="jnj_InformationTechnology_logo_preferred_RGB_2color.png"/>
            <p:cNvPicPr>
              <a:picLocks noChangeAspect="1"/>
            </p:cNvPicPr>
            <p:nvPr userDrawn="1">
              <p:custDataLst>
                <p:tags r:id="rId2"/>
              </p:custDataLst>
            </p:nvPr>
          </p:nvPicPr>
          <p:blipFill rotWithShape="1">
            <a:blip r:embed="rId7" cstate="email">
              <a:extLst>
                <a:ext uri="{28A0092B-C50C-407E-A947-70E740481C1C}">
                  <a14:useLocalDpi xmlns:a14="http://schemas.microsoft.com/office/drawing/2010/main"/>
                </a:ext>
              </a:extLst>
            </a:blip>
            <a:srcRect/>
            <a:stretch/>
          </p:blipFill>
          <p:spPr bwMode="auto">
            <a:xfrm>
              <a:off x="5088048" y="1906181"/>
              <a:ext cx="2136636" cy="590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jnj_logo_rgb.png"/>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558044" y="1890472"/>
              <a:ext cx="3430416" cy="622050"/>
            </a:xfrm>
            <a:prstGeom prst="rect">
              <a:avLst/>
            </a:prstGeom>
          </p:spPr>
        </p:pic>
      </p:grpSp>
      <p:sp>
        <p:nvSpPr>
          <p:cNvPr id="19" name="Rectangle 18"/>
          <p:cNvSpPr/>
          <p:nvPr userDrawn="1"/>
        </p:nvSpPr>
        <p:spPr bwMode="ltGray">
          <a:xfrm>
            <a:off x="0" y="2313257"/>
            <a:ext cx="17373600" cy="520262"/>
          </a:xfrm>
          <a:prstGeom prst="rect">
            <a:avLst/>
          </a:prstGeom>
          <a:solidFill>
            <a:srgbClr val="F30617"/>
          </a:solidFill>
          <a:ln>
            <a:noFill/>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anchor="ctr" anchorCtr="0" compatLnSpc="1">
            <a:prstTxWarp prst="textNoShape">
              <a:avLst/>
            </a:prstTxWarp>
          </a:bodyPr>
          <a:lstStyle/>
          <a:p>
            <a:pPr algn="ctr" defTabSz="1188930"/>
            <a:endParaRPr lang="en-US" sz="2341" dirty="0">
              <a:solidFill>
                <a:srgbClr val="000000"/>
              </a:solidFill>
              <a:cs typeface="Arial" pitchFamily="34" charset="0"/>
            </a:endParaRPr>
          </a:p>
        </p:txBody>
      </p:sp>
    </p:spTree>
    <p:extLst>
      <p:ext uri="{BB962C8B-B14F-4D97-AF65-F5344CB8AC3E}">
        <p14:creationId xmlns:p14="http://schemas.microsoft.com/office/powerpoint/2010/main" val="30527423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5C4A46E-A879-4A9B-B27D-C9198694D6C1}" type="slidenum">
              <a:rPr lang="en-US" smtClean="0"/>
              <a:pPr/>
              <a:t>‹#›</a:t>
            </a:fld>
            <a:endParaRPr lang="en-US" dirty="0"/>
          </a:p>
        </p:txBody>
      </p:sp>
    </p:spTree>
    <p:extLst>
      <p:ext uri="{BB962C8B-B14F-4D97-AF65-F5344CB8AC3E}">
        <p14:creationId xmlns:p14="http://schemas.microsoft.com/office/powerpoint/2010/main" val="19710410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pic>
        <p:nvPicPr>
          <p:cNvPr id="11" name="Picture 10" descr="johnson_global_services_preferred-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463132" y="8828523"/>
            <a:ext cx="4830708" cy="1491586"/>
          </a:xfrm>
          <a:prstGeom prst="rect">
            <a:avLst/>
          </a:prstGeom>
        </p:spPr>
      </p:pic>
      <p:sp>
        <p:nvSpPr>
          <p:cNvPr id="14" name="TextBox 13"/>
          <p:cNvSpPr txBox="1"/>
          <p:nvPr userDrawn="1"/>
        </p:nvSpPr>
        <p:spPr>
          <a:xfrm>
            <a:off x="620486" y="9356736"/>
            <a:ext cx="349184" cy="433324"/>
          </a:xfrm>
          <a:prstGeom prst="rect">
            <a:avLst/>
          </a:prstGeom>
          <a:noFill/>
        </p:spPr>
        <p:txBody>
          <a:bodyPr wrap="square" rtlCol="0">
            <a:spAutoFit/>
          </a:bodyPr>
          <a:lstStyle/>
          <a:p>
            <a:pPr fontAlgn="auto">
              <a:spcBef>
                <a:spcPts val="0"/>
              </a:spcBef>
              <a:spcAft>
                <a:spcPts val="0"/>
              </a:spcAft>
            </a:pPr>
            <a:fld id="{767C7102-4F33-DA4F-A4CA-EDAFE6A82D78}" type="slidenum">
              <a:rPr lang="en-US" sz="1108" smtClean="0">
                <a:solidFill>
                  <a:srgbClr val="828282"/>
                </a:solidFill>
                <a:latin typeface="Arial"/>
                <a:ea typeface="+mn-ea"/>
                <a:cs typeface="Arial"/>
              </a:rPr>
              <a:pPr fontAlgn="auto">
                <a:spcBef>
                  <a:spcPts val="0"/>
                </a:spcBef>
                <a:spcAft>
                  <a:spcPts val="0"/>
                </a:spcAft>
              </a:pPr>
              <a:t>‹#›</a:t>
            </a:fld>
            <a:endParaRPr lang="en-US" sz="1108" dirty="0">
              <a:solidFill>
                <a:srgbClr val="828282"/>
              </a:solidFill>
              <a:latin typeface="Arial"/>
              <a:ea typeface="+mn-ea"/>
              <a:cs typeface="Arial"/>
            </a:endParaRPr>
          </a:p>
        </p:txBody>
      </p:sp>
      <p:sp>
        <p:nvSpPr>
          <p:cNvPr id="6" name="Text Placeholder 25"/>
          <p:cNvSpPr>
            <a:spLocks noGrp="1"/>
          </p:cNvSpPr>
          <p:nvPr>
            <p:ph type="body" sz="quarter" idx="11"/>
          </p:nvPr>
        </p:nvSpPr>
        <p:spPr>
          <a:xfrm>
            <a:off x="1079824" y="814483"/>
            <a:ext cx="14845983" cy="906275"/>
          </a:xfrm>
          <a:prstGeom prst="rect">
            <a:avLst/>
          </a:prstGeom>
        </p:spPr>
        <p:txBody>
          <a:bodyPr vert="horz"/>
          <a:lstStyle>
            <a:lvl1pPr marL="0" indent="0">
              <a:buNone/>
              <a:defRPr>
                <a:solidFill>
                  <a:srgbClr val="F30617"/>
                </a:solidFill>
                <a:latin typeface="Georgia"/>
                <a:cs typeface="Georgia"/>
              </a:defRPr>
            </a:lvl1pPr>
          </a:lstStyle>
          <a:p>
            <a:pPr lvl="0"/>
            <a:r>
              <a:rPr lang="en-US" dirty="0"/>
              <a:t>Click to edit Master text styles</a:t>
            </a:r>
          </a:p>
        </p:txBody>
      </p:sp>
      <p:sp>
        <p:nvSpPr>
          <p:cNvPr id="4" name="Content Placeholder 3"/>
          <p:cNvSpPr>
            <a:spLocks noGrp="1"/>
          </p:cNvSpPr>
          <p:nvPr>
            <p:ph sz="quarter" idx="12"/>
          </p:nvPr>
        </p:nvSpPr>
        <p:spPr>
          <a:xfrm>
            <a:off x="1269845" y="2430785"/>
            <a:ext cx="14655957" cy="6398261"/>
          </a:xfrm>
          <a:prstGeom prst="rect">
            <a:avLst/>
          </a:prstGeom>
        </p:spPr>
        <p:txBody>
          <a:bodyPr vert="horz"/>
          <a:lstStyle>
            <a:lvl1pPr>
              <a:defRPr sz="2217">
                <a:latin typeface="Arial"/>
                <a:cs typeface="Arial"/>
              </a:defRPr>
            </a:lvl1pPr>
            <a:lvl2pPr>
              <a:defRPr sz="2217">
                <a:latin typeface="Arial"/>
                <a:cs typeface="Arial"/>
              </a:defRPr>
            </a:lvl2pPr>
            <a:lvl3pPr>
              <a:defRPr sz="2217">
                <a:latin typeface="Arial"/>
                <a:cs typeface="Arial"/>
              </a:defRPr>
            </a:lvl3pPr>
            <a:lvl4pPr>
              <a:defRPr sz="2217">
                <a:latin typeface="Arial"/>
                <a:cs typeface="Arial"/>
              </a:defRPr>
            </a:lvl4pPr>
            <a:lvl5pPr>
              <a:defRPr sz="2217">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697175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le-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7373600" cy="10058400"/>
          </a:xfrm>
          <a:prstGeom prst="rect">
            <a:avLst/>
          </a:prstGeom>
        </p:spPr>
      </p:pic>
    </p:spTree>
    <p:extLst>
      <p:ext uri="{BB962C8B-B14F-4D97-AF65-F5344CB8AC3E}">
        <p14:creationId xmlns:p14="http://schemas.microsoft.com/office/powerpoint/2010/main" val="54423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Title-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7373600" cy="10058400"/>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57761" y="9063846"/>
            <a:ext cx="3015650" cy="597697"/>
          </a:xfrm>
          <a:prstGeom prst="rect">
            <a:avLst/>
          </a:prstGeom>
        </p:spPr>
      </p:pic>
      <p:sp>
        <p:nvSpPr>
          <p:cNvPr id="5" name="Title 4"/>
          <p:cNvSpPr>
            <a:spLocks noGrp="1"/>
          </p:cNvSpPr>
          <p:nvPr>
            <p:ph type="title" hasCustomPrompt="1"/>
          </p:nvPr>
        </p:nvSpPr>
        <p:spPr>
          <a:xfrm>
            <a:off x="10134659" y="3463439"/>
            <a:ext cx="6770616" cy="2113860"/>
          </a:xfrm>
        </p:spPr>
        <p:txBody>
          <a:bodyPr/>
          <a:lstStyle>
            <a:lvl1pPr>
              <a:lnSpc>
                <a:spcPts val="8800"/>
              </a:lnSpc>
              <a:defRPr sz="10559" b="1" spc="-293" baseline="0">
                <a:latin typeface="Arial Narrow" panose="020B0606020202030204" pitchFamily="34" charset="0"/>
              </a:defRPr>
            </a:lvl1pPr>
          </a:lstStyle>
          <a:p>
            <a:r>
              <a:rPr lang="en-US" dirty="0"/>
              <a:t>CLICK TO EDIT MASTER TITLE STYLE</a:t>
            </a:r>
          </a:p>
        </p:txBody>
      </p:sp>
    </p:spTree>
    <p:extLst>
      <p:ext uri="{BB962C8B-B14F-4D97-AF65-F5344CB8AC3E}">
        <p14:creationId xmlns:p14="http://schemas.microsoft.com/office/powerpoint/2010/main" val="3024798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Intro">
    <p:spTree>
      <p:nvGrpSpPr>
        <p:cNvPr id="1" name=""/>
        <p:cNvGrpSpPr/>
        <p:nvPr/>
      </p:nvGrpSpPr>
      <p:grpSpPr>
        <a:xfrm>
          <a:off x="0" y="0"/>
          <a:ext cx="0" cy="0"/>
          <a:chOff x="0" y="0"/>
          <a:chExt cx="0" cy="0"/>
        </a:xfrm>
      </p:grpSpPr>
      <p:sp>
        <p:nvSpPr>
          <p:cNvPr id="3" name="Rectangle 2"/>
          <p:cNvSpPr/>
          <p:nvPr userDrawn="1"/>
        </p:nvSpPr>
        <p:spPr>
          <a:xfrm>
            <a:off x="0" y="6"/>
            <a:ext cx="17373600" cy="941885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Content Placeholder 2"/>
          <p:cNvSpPr>
            <a:spLocks noGrp="1"/>
          </p:cNvSpPr>
          <p:nvPr>
            <p:ph idx="1" hasCustomPrompt="1"/>
          </p:nvPr>
        </p:nvSpPr>
        <p:spPr>
          <a:xfrm>
            <a:off x="1091927" y="5117723"/>
            <a:ext cx="11776498" cy="645031"/>
          </a:xfrm>
        </p:spPr>
        <p:txBody>
          <a:bodyPr anchor="b"/>
          <a:lstStyle>
            <a:lvl1pPr marL="0" indent="0">
              <a:buNone/>
              <a:defRPr sz="3520" baseline="0">
                <a:solidFill>
                  <a:srgbClr val="FFFFFF"/>
                </a:solidFill>
              </a:defRPr>
            </a:lvl1pPr>
            <a:lvl2pPr>
              <a:defRPr>
                <a:solidFill>
                  <a:schemeClr val="tx1">
                    <a:lumMod val="65000"/>
                    <a:lumOff val="35000"/>
                  </a:schemeClr>
                </a:solidFill>
              </a:defRPr>
            </a:lvl2pPr>
          </a:lstStyle>
          <a:p>
            <a:pPr lvl="0"/>
            <a:r>
              <a:rPr lang="en-US" dirty="0"/>
              <a:t>Section Headline</a:t>
            </a:r>
          </a:p>
        </p:txBody>
      </p:sp>
      <p:sp>
        <p:nvSpPr>
          <p:cNvPr id="9" name="Content Placeholder 2"/>
          <p:cNvSpPr>
            <a:spLocks noGrp="1"/>
          </p:cNvSpPr>
          <p:nvPr>
            <p:ph idx="10" hasCustomPrompt="1"/>
          </p:nvPr>
        </p:nvSpPr>
        <p:spPr>
          <a:xfrm>
            <a:off x="1091927" y="5917317"/>
            <a:ext cx="11776498" cy="645031"/>
          </a:xfrm>
        </p:spPr>
        <p:txBody>
          <a:bodyPr anchor="b"/>
          <a:lstStyle>
            <a:lvl1pPr marL="0" indent="0">
              <a:buNone/>
              <a:defRPr sz="2640" baseline="0">
                <a:solidFill>
                  <a:srgbClr val="FFFFFF"/>
                </a:solidFill>
              </a:defRPr>
            </a:lvl1pPr>
            <a:lvl2pPr>
              <a:defRPr>
                <a:solidFill>
                  <a:schemeClr val="tx1">
                    <a:lumMod val="65000"/>
                    <a:lumOff val="35000"/>
                  </a:schemeClr>
                </a:solidFill>
              </a:defRPr>
            </a:lvl2pPr>
          </a:lstStyle>
          <a:p>
            <a:pPr lvl="0"/>
            <a:r>
              <a:rPr lang="en-US" dirty="0"/>
              <a:t>Section </a:t>
            </a:r>
            <a:r>
              <a:rPr lang="en-US" dirty="0" err="1"/>
              <a:t>SubHead</a:t>
            </a:r>
            <a:endParaRPr lang="en-US" dirty="0"/>
          </a:p>
        </p:txBody>
      </p:sp>
      <p:sp>
        <p:nvSpPr>
          <p:cNvPr id="11" name="Rectangle 10"/>
          <p:cNvSpPr/>
          <p:nvPr userDrawn="1"/>
        </p:nvSpPr>
        <p:spPr>
          <a:xfrm>
            <a:off x="0" y="9256464"/>
            <a:ext cx="17373600" cy="801941"/>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3" name="Picture 12"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3553" y="9386183"/>
            <a:ext cx="4928956" cy="548526"/>
          </a:xfrm>
          <a:prstGeom prst="rect">
            <a:avLst/>
          </a:prstGeom>
        </p:spPr>
      </p:pic>
      <p:sp>
        <p:nvSpPr>
          <p:cNvPr id="10" name="Text Placeholder 10"/>
          <p:cNvSpPr txBox="1">
            <a:spLocks/>
          </p:cNvSpPr>
          <p:nvPr userDrawn="1"/>
        </p:nvSpPr>
        <p:spPr bwMode="auto">
          <a:xfrm>
            <a:off x="16246831" y="9307370"/>
            <a:ext cx="1307746" cy="808708"/>
          </a:xfrm>
          <a:prstGeom prst="rect">
            <a:avLst/>
          </a:prstGeom>
          <a:noFill/>
          <a:ln w="9525">
            <a:noFill/>
            <a:miter lim="800000"/>
            <a:headEnd/>
            <a:tailEnd/>
          </a:ln>
        </p:spPr>
        <p:txBody>
          <a:bodyPr lIns="133968" tIns="66986" rIns="402336" bIns="66986" anchor="ctr"/>
          <a:lstStyle/>
          <a:p>
            <a:pPr marL="500582" indent="-500582" algn="ctr" defTabSz="668219">
              <a:spcBef>
                <a:spcPct val="20000"/>
              </a:spcBef>
              <a:buFont typeface="Arial" pitchFamily="34" charset="0"/>
              <a:buNone/>
              <a:defRPr/>
            </a:pPr>
            <a:r>
              <a:rPr lang="en-US" sz="1320" dirty="0">
                <a:solidFill>
                  <a:schemeClr val="bg1">
                    <a:lumMod val="65000"/>
                  </a:schemeClr>
                </a:solidFill>
                <a:cs typeface="Arial" pitchFamily="34" charset="0"/>
                <a:sym typeface="Arial" pitchFamily="34" charset="0"/>
              </a:rPr>
              <a:t>  </a:t>
            </a:r>
            <a:fld id="{C1209FD9-C7F3-4875-AF7D-3292D13E6022}" type="slidenum">
              <a:rPr lang="en-US" sz="1320">
                <a:solidFill>
                  <a:srgbClr val="FFFFFF"/>
                </a:solidFill>
                <a:cs typeface="Arial" pitchFamily="34" charset="0"/>
                <a:sym typeface="Arial" pitchFamily="34" charset="0"/>
              </a:rPr>
              <a:pPr marL="500582" indent="-500582" algn="ctr" defTabSz="668219">
                <a:spcBef>
                  <a:spcPct val="20000"/>
                </a:spcBef>
                <a:buFont typeface="Arial" pitchFamily="34" charset="0"/>
                <a:buNone/>
                <a:defRPr/>
              </a:pPr>
              <a:t>‹#›</a:t>
            </a:fld>
            <a:endParaRPr lang="en-US" sz="132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922402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868680" y="429158"/>
            <a:ext cx="15636240" cy="710594"/>
          </a:xfrm>
          <a:prstGeom prst="rect">
            <a:avLst/>
          </a:prstGeom>
          <a:noFill/>
          <a:ln w="9525">
            <a:noFill/>
            <a:miter lim="800000"/>
            <a:headEnd/>
            <a:tailEnd/>
          </a:ln>
        </p:spPr>
        <p:txBody>
          <a:bodyPr vert="horz" wrap="square" lIns="0" tIns="0" rIns="91342" bIns="0" numCol="1" anchor="b" anchorCtr="0" compatLnSpc="1">
            <a:prstTxWarp prst="textNoShape">
              <a:avLst/>
            </a:prstTxWarp>
          </a:bodyPr>
          <a:lstStyle/>
          <a:p>
            <a:pPr lvl="0"/>
            <a:r>
              <a:rPr lang="en-US"/>
              <a:t>Click to edit Master title style</a:t>
            </a:r>
            <a:endParaRPr lang="en-US" dirty="0"/>
          </a:p>
        </p:txBody>
      </p:sp>
      <p:sp>
        <p:nvSpPr>
          <p:cNvPr id="5" name="Text Placeholder 2"/>
          <p:cNvSpPr>
            <a:spLocks noGrp="1"/>
          </p:cNvSpPr>
          <p:nvPr>
            <p:ph idx="1"/>
          </p:nvPr>
        </p:nvSpPr>
        <p:spPr bwMode="auto">
          <a:xfrm>
            <a:off x="868680" y="2027277"/>
            <a:ext cx="15636240" cy="69577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02676" indent="-302676">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6942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1194435" y="2677584"/>
            <a:ext cx="7383780" cy="63819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8795385" y="2677584"/>
            <a:ext cx="7383780" cy="63819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C764DE79-268F-4C1A-8933-263129D2AF90}" type="datetimeFigureOut">
              <a:rPr lang="en-US" dirty="0"/>
              <a:t>9/10/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5987469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NO Background">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868680" y="429158"/>
            <a:ext cx="15636240" cy="710594"/>
          </a:xfrm>
          <a:prstGeom prst="rect">
            <a:avLst/>
          </a:prstGeom>
          <a:noFill/>
          <a:ln w="9525">
            <a:noFill/>
            <a:miter lim="800000"/>
            <a:headEnd/>
            <a:tailEnd/>
          </a:ln>
        </p:spPr>
        <p:txBody>
          <a:bodyPr vert="horz" wrap="square" lIns="0" tIns="0" rIns="91342" bIns="0" numCol="1" anchor="b" anchorCtr="0" compatLnSpc="1">
            <a:prstTxWarp prst="textNoShape">
              <a:avLst/>
            </a:prstTxWarp>
          </a:bodyPr>
          <a:lstStyle/>
          <a:p>
            <a:pPr lvl="0"/>
            <a:r>
              <a:rPr lang="en-US"/>
              <a:t>Click to edit Master title style</a:t>
            </a:r>
            <a:endParaRPr lang="en-US" dirty="0"/>
          </a:p>
        </p:txBody>
      </p:sp>
      <p:sp>
        <p:nvSpPr>
          <p:cNvPr id="5" name="Text Placeholder 2"/>
          <p:cNvSpPr>
            <a:spLocks noGrp="1"/>
          </p:cNvSpPr>
          <p:nvPr>
            <p:ph idx="1"/>
          </p:nvPr>
        </p:nvSpPr>
        <p:spPr bwMode="auto">
          <a:xfrm>
            <a:off x="868680" y="2027277"/>
            <a:ext cx="15636240" cy="69577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02676" indent="-302676">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0" y="9409161"/>
            <a:ext cx="17373600" cy="649243"/>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ext Placeholder 10"/>
          <p:cNvSpPr txBox="1">
            <a:spLocks/>
          </p:cNvSpPr>
          <p:nvPr userDrawn="1"/>
        </p:nvSpPr>
        <p:spPr bwMode="auto">
          <a:xfrm>
            <a:off x="16246831" y="9307370"/>
            <a:ext cx="1307746" cy="808708"/>
          </a:xfrm>
          <a:prstGeom prst="rect">
            <a:avLst/>
          </a:prstGeom>
          <a:noFill/>
          <a:ln w="9525">
            <a:noFill/>
            <a:miter lim="800000"/>
            <a:headEnd/>
            <a:tailEnd/>
          </a:ln>
        </p:spPr>
        <p:txBody>
          <a:bodyPr lIns="133968" tIns="66986" rIns="402336" bIns="66986" anchor="ctr"/>
          <a:lstStyle/>
          <a:p>
            <a:pPr marL="500582" indent="-500582" algn="ctr" defTabSz="668219">
              <a:spcBef>
                <a:spcPct val="20000"/>
              </a:spcBef>
              <a:buFont typeface="Arial" pitchFamily="34" charset="0"/>
              <a:buNone/>
              <a:defRPr/>
            </a:pPr>
            <a:r>
              <a:rPr lang="en-US" sz="1320" dirty="0">
                <a:solidFill>
                  <a:schemeClr val="bg1">
                    <a:lumMod val="65000"/>
                  </a:schemeClr>
                </a:solidFill>
                <a:cs typeface="Arial" pitchFamily="34" charset="0"/>
                <a:sym typeface="Arial" pitchFamily="34" charset="0"/>
              </a:rPr>
              <a:t>  </a:t>
            </a:r>
            <a:fld id="{C1209FD9-C7F3-4875-AF7D-3292D13E6022}" type="slidenum">
              <a:rPr lang="en-US" sz="1320">
                <a:solidFill>
                  <a:srgbClr val="FFFFFF"/>
                </a:solidFill>
                <a:cs typeface="Arial" pitchFamily="34" charset="0"/>
                <a:sym typeface="Arial" pitchFamily="34" charset="0"/>
              </a:rPr>
              <a:pPr marL="500582" indent="-500582" algn="ctr" defTabSz="668219">
                <a:spcBef>
                  <a:spcPct val="20000"/>
                </a:spcBef>
                <a:buFont typeface="Arial" pitchFamily="34" charset="0"/>
                <a:buNone/>
                <a:defRPr/>
              </a:pPr>
              <a:t>‹#›</a:t>
            </a:fld>
            <a:endParaRPr lang="en-US" sz="1320" dirty="0">
              <a:solidFill>
                <a:srgbClr val="FFFFFF"/>
              </a:solidFill>
              <a:cs typeface="Arial" pitchFamily="34" charset="0"/>
              <a:sym typeface="Arial" pitchFamily="34" charset="0"/>
            </a:endParaRPr>
          </a:p>
        </p:txBody>
      </p:sp>
      <p:pic>
        <p:nvPicPr>
          <p:cNvPr id="8" name="Picture 7"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3553" y="9452139"/>
            <a:ext cx="4928956" cy="548526"/>
          </a:xfrm>
          <a:prstGeom prst="rect">
            <a:avLst/>
          </a:prstGeom>
        </p:spPr>
      </p:pic>
    </p:spTree>
    <p:extLst>
      <p:ext uri="{BB962C8B-B14F-4D97-AF65-F5344CB8AC3E}">
        <p14:creationId xmlns:p14="http://schemas.microsoft.com/office/powerpoint/2010/main" val="2410051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11" name="Rectangle 10"/>
          <p:cNvSpPr/>
          <p:nvPr userDrawn="1"/>
        </p:nvSpPr>
        <p:spPr>
          <a:xfrm>
            <a:off x="0" y="9409161"/>
            <a:ext cx="17373600" cy="649243"/>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 name="Picture 6"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3553" y="9452139"/>
            <a:ext cx="4928956" cy="548526"/>
          </a:xfrm>
          <a:prstGeom prst="rect">
            <a:avLst/>
          </a:prstGeom>
        </p:spPr>
      </p:pic>
      <p:sp>
        <p:nvSpPr>
          <p:cNvPr id="4" name="Title Placeholder 1"/>
          <p:cNvSpPr>
            <a:spLocks noGrp="1"/>
          </p:cNvSpPr>
          <p:nvPr>
            <p:ph type="title"/>
          </p:nvPr>
        </p:nvSpPr>
        <p:spPr bwMode="auto">
          <a:xfrm>
            <a:off x="868680" y="429158"/>
            <a:ext cx="15636240" cy="710594"/>
          </a:xfrm>
          <a:prstGeom prst="rect">
            <a:avLst/>
          </a:prstGeom>
          <a:noFill/>
          <a:ln w="9525">
            <a:noFill/>
            <a:miter lim="800000"/>
            <a:headEnd/>
            <a:tailEnd/>
          </a:ln>
        </p:spPr>
        <p:txBody>
          <a:bodyPr vert="horz" wrap="square" lIns="0" tIns="0" rIns="91342" bIns="0" numCol="1" anchor="b" anchorCtr="0" compatLnSpc="1">
            <a:prstTxWarp prst="textNoShape">
              <a:avLst/>
            </a:prstTxWarp>
          </a:bodyPr>
          <a:lstStyle/>
          <a:p>
            <a:pPr lvl="0"/>
            <a:r>
              <a:rPr lang="en-US"/>
              <a:t>Click to edit Master title style</a:t>
            </a:r>
            <a:endParaRPr lang="en-US" dirty="0"/>
          </a:p>
        </p:txBody>
      </p:sp>
      <p:sp>
        <p:nvSpPr>
          <p:cNvPr id="5" name="Text Placeholder 2"/>
          <p:cNvSpPr>
            <a:spLocks noGrp="1"/>
          </p:cNvSpPr>
          <p:nvPr>
            <p:ph idx="1"/>
          </p:nvPr>
        </p:nvSpPr>
        <p:spPr bwMode="auto">
          <a:xfrm>
            <a:off x="868680" y="2011687"/>
            <a:ext cx="15636240" cy="697335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0"/>
          <p:cNvSpPr txBox="1">
            <a:spLocks/>
          </p:cNvSpPr>
          <p:nvPr userDrawn="1"/>
        </p:nvSpPr>
        <p:spPr bwMode="auto">
          <a:xfrm>
            <a:off x="16246831" y="9307370"/>
            <a:ext cx="1307746" cy="808708"/>
          </a:xfrm>
          <a:prstGeom prst="rect">
            <a:avLst/>
          </a:prstGeom>
          <a:noFill/>
          <a:ln w="9525">
            <a:noFill/>
            <a:miter lim="800000"/>
            <a:headEnd/>
            <a:tailEnd/>
          </a:ln>
        </p:spPr>
        <p:txBody>
          <a:bodyPr lIns="133968" tIns="66986" rIns="402336" bIns="66986" anchor="ctr"/>
          <a:lstStyle/>
          <a:p>
            <a:pPr marL="500582" indent="-500582" algn="ctr" defTabSz="668219">
              <a:spcBef>
                <a:spcPct val="20000"/>
              </a:spcBef>
              <a:buFont typeface="Arial" pitchFamily="34" charset="0"/>
              <a:buNone/>
              <a:defRPr/>
            </a:pPr>
            <a:r>
              <a:rPr lang="en-US" sz="1320" dirty="0">
                <a:solidFill>
                  <a:schemeClr val="bg1">
                    <a:lumMod val="65000"/>
                  </a:schemeClr>
                </a:solidFill>
                <a:cs typeface="Arial" pitchFamily="34" charset="0"/>
                <a:sym typeface="Arial" pitchFamily="34" charset="0"/>
              </a:rPr>
              <a:t>  </a:t>
            </a:r>
            <a:fld id="{C1209FD9-C7F3-4875-AF7D-3292D13E6022}" type="slidenum">
              <a:rPr lang="en-US" sz="1320">
                <a:solidFill>
                  <a:srgbClr val="FFFFFF"/>
                </a:solidFill>
                <a:cs typeface="Arial" pitchFamily="34" charset="0"/>
                <a:sym typeface="Arial" pitchFamily="34" charset="0"/>
              </a:rPr>
              <a:pPr marL="500582" indent="-500582" algn="ctr" defTabSz="668219">
                <a:spcBef>
                  <a:spcPct val="20000"/>
                </a:spcBef>
                <a:buFont typeface="Arial" pitchFamily="34" charset="0"/>
                <a:buNone/>
                <a:defRPr/>
              </a:pPr>
              <a:t>‹#›</a:t>
            </a:fld>
            <a:endParaRPr lang="en-US" sz="132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394093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3087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14" name="Rectangle 13"/>
          <p:cNvSpPr/>
          <p:nvPr userDrawn="1"/>
        </p:nvSpPr>
        <p:spPr>
          <a:xfrm>
            <a:off x="0" y="9409161"/>
            <a:ext cx="17373600" cy="649243"/>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Rectangle 1"/>
          <p:cNvSpPr/>
          <p:nvPr userDrawn="1"/>
        </p:nvSpPr>
        <p:spPr>
          <a:xfrm>
            <a:off x="0" y="6"/>
            <a:ext cx="17373600" cy="941705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 name="Picture 6"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3553" y="9474125"/>
            <a:ext cx="4928956" cy="548526"/>
          </a:xfrm>
          <a:prstGeom prst="rect">
            <a:avLst/>
          </a:prstGeom>
        </p:spPr>
      </p:pic>
      <p:sp>
        <p:nvSpPr>
          <p:cNvPr id="10" name="Text Placeholder 9"/>
          <p:cNvSpPr>
            <a:spLocks noGrp="1"/>
          </p:cNvSpPr>
          <p:nvPr>
            <p:ph type="body" sz="quarter" idx="10" hasCustomPrompt="1"/>
          </p:nvPr>
        </p:nvSpPr>
        <p:spPr>
          <a:xfrm>
            <a:off x="0" y="3699724"/>
            <a:ext cx="17373600" cy="1430062"/>
          </a:xfrm>
        </p:spPr>
        <p:txBody>
          <a:bodyPr/>
          <a:lstStyle>
            <a:lvl1pPr marL="0" indent="0" algn="ctr">
              <a:buNone/>
              <a:defRPr sz="7626">
                <a:solidFill>
                  <a:srgbClr val="FFFFFF"/>
                </a:solidFill>
              </a:defRPr>
            </a:lvl1pPr>
          </a:lstStyle>
          <a:p>
            <a:pPr lvl="0"/>
            <a:r>
              <a:rPr lang="en-US"/>
              <a:t>Click to edit Title</a:t>
            </a:r>
          </a:p>
        </p:txBody>
      </p:sp>
      <p:sp>
        <p:nvSpPr>
          <p:cNvPr id="16" name="Text Placeholder 15"/>
          <p:cNvSpPr>
            <a:spLocks noGrp="1"/>
          </p:cNvSpPr>
          <p:nvPr>
            <p:ph type="body" sz="quarter" idx="11" hasCustomPrompt="1"/>
          </p:nvPr>
        </p:nvSpPr>
        <p:spPr>
          <a:xfrm>
            <a:off x="3262376" y="5128853"/>
            <a:ext cx="10887458" cy="3532082"/>
          </a:xfrm>
        </p:spPr>
        <p:txBody>
          <a:bodyPr/>
          <a:lstStyle>
            <a:lvl1pPr marL="0" marR="0" indent="0" algn="ctr" defTabSz="668219" rtl="0" eaLnBrk="1" fontAlgn="base" latinLnBrk="0" hangingPunct="1">
              <a:lnSpc>
                <a:spcPts val="4107"/>
              </a:lnSpc>
              <a:spcBef>
                <a:spcPts val="0"/>
              </a:spcBef>
              <a:spcAft>
                <a:spcPct val="0"/>
              </a:spcAft>
              <a:buClr>
                <a:schemeClr val="accent1"/>
              </a:buClr>
              <a:buSzTx/>
              <a:buFont typeface="Arial"/>
              <a:buNone/>
              <a:tabLst/>
              <a:defRPr sz="2493">
                <a:solidFill>
                  <a:srgbClr val="FFFFFF"/>
                </a:solidFill>
                <a:latin typeface="Georgia"/>
                <a:cs typeface="Georgia"/>
              </a:defRPr>
            </a:lvl1pPr>
            <a:lvl2pPr marL="456344" indent="0" algn="ctr">
              <a:buNone/>
              <a:defRPr sz="2347">
                <a:solidFill>
                  <a:srgbClr val="FFFFFF"/>
                </a:solidFill>
                <a:latin typeface="Georgia"/>
                <a:cs typeface="Georgia"/>
              </a:defRPr>
            </a:lvl2pPr>
            <a:lvl3pPr marL="994178" indent="0" algn="ctr">
              <a:buNone/>
              <a:defRPr sz="2347">
                <a:solidFill>
                  <a:srgbClr val="FFFFFF"/>
                </a:solidFill>
                <a:latin typeface="Georgia"/>
                <a:cs typeface="Georgia"/>
              </a:defRPr>
            </a:lvl3pPr>
            <a:lvl4pPr marL="1394642" indent="0" algn="ctr">
              <a:buNone/>
              <a:defRPr sz="2347">
                <a:solidFill>
                  <a:srgbClr val="FFFFFF"/>
                </a:solidFill>
                <a:latin typeface="Georgia"/>
                <a:cs typeface="Georgia"/>
              </a:defRPr>
            </a:lvl4pPr>
            <a:lvl5pPr marL="1797434" indent="0" algn="ctr">
              <a:buNone/>
              <a:defRPr sz="2347">
                <a:solidFill>
                  <a:srgbClr val="FFFFFF"/>
                </a:solidFill>
                <a:latin typeface="Georgia"/>
                <a:cs typeface="Georgia"/>
              </a:defRPr>
            </a:lvl5pPr>
          </a:lstStyle>
          <a:p>
            <a:pPr lvl="0"/>
            <a:r>
              <a:rPr lang="en-US"/>
              <a:t>Click to edit Description</a:t>
            </a:r>
          </a:p>
        </p:txBody>
      </p:sp>
      <p:sp>
        <p:nvSpPr>
          <p:cNvPr id="9" name="Text Placeholder 10"/>
          <p:cNvSpPr txBox="1">
            <a:spLocks/>
          </p:cNvSpPr>
          <p:nvPr userDrawn="1"/>
        </p:nvSpPr>
        <p:spPr bwMode="auto">
          <a:xfrm>
            <a:off x="16246831" y="9307370"/>
            <a:ext cx="1307746" cy="808708"/>
          </a:xfrm>
          <a:prstGeom prst="rect">
            <a:avLst/>
          </a:prstGeom>
          <a:noFill/>
          <a:ln w="9525">
            <a:noFill/>
            <a:miter lim="800000"/>
            <a:headEnd/>
            <a:tailEnd/>
          </a:ln>
        </p:spPr>
        <p:txBody>
          <a:bodyPr lIns="133968" tIns="66986" rIns="402336" bIns="66986" anchor="ctr"/>
          <a:lstStyle/>
          <a:p>
            <a:pPr marL="500582" indent="-500582" algn="ctr" defTabSz="668219">
              <a:spcBef>
                <a:spcPct val="20000"/>
              </a:spcBef>
              <a:buFont typeface="Arial" pitchFamily="34" charset="0"/>
              <a:buNone/>
              <a:defRPr/>
            </a:pPr>
            <a:r>
              <a:rPr lang="en-US" sz="1320" dirty="0">
                <a:solidFill>
                  <a:schemeClr val="bg1">
                    <a:lumMod val="65000"/>
                  </a:schemeClr>
                </a:solidFill>
                <a:cs typeface="Arial" pitchFamily="34" charset="0"/>
                <a:sym typeface="Arial" pitchFamily="34" charset="0"/>
              </a:rPr>
              <a:t>  </a:t>
            </a:r>
            <a:fld id="{C1209FD9-C7F3-4875-AF7D-3292D13E6022}" type="slidenum">
              <a:rPr lang="en-US" sz="1320">
                <a:solidFill>
                  <a:srgbClr val="FFFFFF"/>
                </a:solidFill>
                <a:cs typeface="Arial" pitchFamily="34" charset="0"/>
                <a:sym typeface="Arial" pitchFamily="34" charset="0"/>
              </a:rPr>
              <a:pPr marL="500582" indent="-500582" algn="ctr" defTabSz="668219">
                <a:spcBef>
                  <a:spcPct val="20000"/>
                </a:spcBef>
                <a:buFont typeface="Arial" pitchFamily="34" charset="0"/>
                <a:buNone/>
                <a:defRPr/>
              </a:pPr>
              <a:t>‹#›</a:t>
            </a:fld>
            <a:endParaRPr lang="en-US" sz="132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315527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8682" y="1996085"/>
            <a:ext cx="7673340" cy="6987464"/>
          </a:xfrm>
        </p:spPr>
        <p:txBody>
          <a:bodyPr/>
          <a:lstStyle>
            <a:lvl1pPr>
              <a:defRPr sz="1467"/>
            </a:lvl1pPr>
            <a:lvl2pPr>
              <a:defRPr sz="1467"/>
            </a:lvl2pPr>
            <a:lvl3pPr>
              <a:defRPr sz="1467"/>
            </a:lvl3pPr>
            <a:lvl4pPr>
              <a:defRPr sz="1467"/>
            </a:lvl4pPr>
            <a:lvl5pPr>
              <a:defRPr sz="1467"/>
            </a:lvl5pPr>
            <a:lvl6pPr>
              <a:defRPr sz="2640"/>
            </a:lvl6pPr>
            <a:lvl7pPr>
              <a:defRPr sz="2640"/>
            </a:lvl7pPr>
            <a:lvl8pPr>
              <a:defRPr sz="2640"/>
            </a:lvl8pPr>
            <a:lvl9pPr>
              <a:defRPr sz="26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8831580" y="1996085"/>
            <a:ext cx="7673340" cy="6987464"/>
          </a:xfrm>
        </p:spPr>
        <p:txBody>
          <a:bodyPr/>
          <a:lstStyle>
            <a:lvl1pPr>
              <a:defRPr sz="1467"/>
            </a:lvl1pPr>
            <a:lvl2pPr>
              <a:defRPr sz="1467"/>
            </a:lvl2pPr>
            <a:lvl3pPr>
              <a:defRPr sz="1467"/>
            </a:lvl3pPr>
            <a:lvl4pPr>
              <a:defRPr sz="1467"/>
            </a:lvl4pPr>
            <a:lvl5pPr>
              <a:defRPr sz="1467"/>
            </a:lvl5pPr>
            <a:lvl6pPr>
              <a:defRPr sz="2640"/>
            </a:lvl6pPr>
            <a:lvl7pPr>
              <a:defRPr sz="2640"/>
            </a:lvl7pPr>
            <a:lvl8pPr>
              <a:defRPr sz="2640"/>
            </a:lvl8pPr>
            <a:lvl9pPr>
              <a:defRPr sz="26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417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868680" y="1996086"/>
            <a:ext cx="5003596" cy="6994268"/>
          </a:xfrm>
        </p:spPr>
        <p:txBody>
          <a:bodyPr/>
          <a:lstStyle>
            <a:lvl1pPr>
              <a:defRPr sz="1760">
                <a:solidFill>
                  <a:schemeClr val="tx1">
                    <a:lumMod val="65000"/>
                    <a:lumOff val="35000"/>
                  </a:schemeClr>
                </a:solidFill>
              </a:defRPr>
            </a:lvl1pPr>
            <a:lvl2pPr>
              <a:defRPr sz="1613">
                <a:solidFill>
                  <a:schemeClr val="tx1">
                    <a:lumMod val="65000"/>
                    <a:lumOff val="35000"/>
                  </a:schemeClr>
                </a:solidFill>
              </a:defRPr>
            </a:lvl2pPr>
            <a:lvl3pPr>
              <a:defRPr sz="1540">
                <a:solidFill>
                  <a:schemeClr val="tx1">
                    <a:lumMod val="65000"/>
                    <a:lumOff val="35000"/>
                  </a:schemeClr>
                </a:solidFill>
              </a:defRPr>
            </a:lvl3pPr>
            <a:lvl4pPr>
              <a:defRPr sz="1467">
                <a:solidFill>
                  <a:schemeClr val="tx1">
                    <a:lumMod val="65000"/>
                    <a:lumOff val="35000"/>
                  </a:schemeClr>
                </a:solidFill>
              </a:defRPr>
            </a:lvl4pPr>
            <a:lvl5pPr>
              <a:defRPr sz="1467">
                <a:solidFill>
                  <a:schemeClr val="tx1">
                    <a:lumMod val="65000"/>
                    <a:lumOff val="35000"/>
                  </a:schemeClr>
                </a:solidFill>
              </a:defRPr>
            </a:lvl5pPr>
            <a:lvl6pPr>
              <a:defRPr sz="2347"/>
            </a:lvl6pPr>
            <a:lvl7pPr>
              <a:defRPr sz="2347"/>
            </a:lvl7pPr>
            <a:lvl8pPr>
              <a:defRPr sz="2347"/>
            </a:lvl8pPr>
            <a:lvl9pPr>
              <a:defRPr sz="234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6185004" y="1996086"/>
            <a:ext cx="5003596" cy="6994268"/>
          </a:xfrm>
        </p:spPr>
        <p:txBody>
          <a:bodyPr/>
          <a:lstStyle>
            <a:lvl1pPr>
              <a:defRPr sz="1467">
                <a:solidFill>
                  <a:schemeClr val="tx1">
                    <a:lumMod val="65000"/>
                    <a:lumOff val="35000"/>
                  </a:schemeClr>
                </a:solidFill>
              </a:defRPr>
            </a:lvl1pPr>
            <a:lvl2pPr>
              <a:defRPr sz="1467">
                <a:solidFill>
                  <a:schemeClr val="tx1">
                    <a:lumMod val="65000"/>
                    <a:lumOff val="35000"/>
                  </a:schemeClr>
                </a:solidFill>
              </a:defRPr>
            </a:lvl2pPr>
            <a:lvl3pPr>
              <a:defRPr sz="1467">
                <a:solidFill>
                  <a:schemeClr val="tx1">
                    <a:lumMod val="65000"/>
                    <a:lumOff val="35000"/>
                  </a:schemeClr>
                </a:solidFill>
              </a:defRPr>
            </a:lvl3pPr>
            <a:lvl4pPr>
              <a:defRPr sz="1467">
                <a:solidFill>
                  <a:schemeClr val="tx1">
                    <a:lumMod val="65000"/>
                    <a:lumOff val="35000"/>
                  </a:schemeClr>
                </a:solidFill>
              </a:defRPr>
            </a:lvl4pPr>
            <a:lvl5pPr>
              <a:defRPr sz="1467">
                <a:solidFill>
                  <a:schemeClr val="tx1">
                    <a:lumMod val="65000"/>
                    <a:lumOff val="35000"/>
                  </a:schemeClr>
                </a:solidFill>
              </a:defRPr>
            </a:lvl5pPr>
            <a:lvl6pPr>
              <a:defRPr sz="2347"/>
            </a:lvl6pPr>
            <a:lvl7pPr>
              <a:defRPr sz="2347"/>
            </a:lvl7pPr>
            <a:lvl8pPr>
              <a:defRPr sz="2347"/>
            </a:lvl8pPr>
            <a:lvl9pPr>
              <a:defRPr sz="234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3"/>
          </p:nvPr>
        </p:nvSpPr>
        <p:spPr>
          <a:xfrm>
            <a:off x="11501324" y="1996086"/>
            <a:ext cx="5003596" cy="6994268"/>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616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2720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96698" y="535517"/>
            <a:ext cx="14984730" cy="1944159"/>
          </a:xfrm>
        </p:spPr>
        <p:txBody>
          <a:bodyPr/>
          <a:lstStyle/>
          <a:p>
            <a:r>
              <a:rPr lang="en-US" dirty="0"/>
              <a:t>Click to edit Master title style</a:t>
            </a:r>
          </a:p>
        </p:txBody>
      </p:sp>
      <p:sp>
        <p:nvSpPr>
          <p:cNvPr id="3" name="Text Placeholder 2"/>
          <p:cNvSpPr>
            <a:spLocks noGrp="1"/>
          </p:cNvSpPr>
          <p:nvPr>
            <p:ph type="body" idx="1"/>
          </p:nvPr>
        </p:nvSpPr>
        <p:spPr>
          <a:xfrm>
            <a:off x="1196699" y="2465706"/>
            <a:ext cx="7349846" cy="1208404"/>
          </a:xfrm>
        </p:spPr>
        <p:txBody>
          <a:bodyPr anchor="b"/>
          <a:lstStyle>
            <a:lvl1pPr marL="0" indent="0">
              <a:buNone/>
              <a:defRPr sz="4146" b="1"/>
            </a:lvl1pPr>
            <a:lvl2pPr marL="789722" indent="0">
              <a:buNone/>
              <a:defRPr sz="3455" b="1"/>
            </a:lvl2pPr>
            <a:lvl3pPr marL="1579443" indent="0">
              <a:buNone/>
              <a:defRPr sz="3109" b="1"/>
            </a:lvl3pPr>
            <a:lvl4pPr marL="2369165" indent="0">
              <a:buNone/>
              <a:defRPr sz="2764" b="1"/>
            </a:lvl4pPr>
            <a:lvl5pPr marL="3158886" indent="0">
              <a:buNone/>
              <a:defRPr sz="2764" b="1"/>
            </a:lvl5pPr>
            <a:lvl6pPr marL="3948608" indent="0">
              <a:buNone/>
              <a:defRPr sz="2764" b="1"/>
            </a:lvl6pPr>
            <a:lvl7pPr marL="4738329" indent="0">
              <a:buNone/>
              <a:defRPr sz="2764" b="1"/>
            </a:lvl7pPr>
            <a:lvl8pPr marL="5528051" indent="0">
              <a:buNone/>
              <a:defRPr sz="2764" b="1"/>
            </a:lvl8pPr>
            <a:lvl9pPr marL="6317772" indent="0">
              <a:buNone/>
              <a:defRPr sz="2764" b="1"/>
            </a:lvl9pPr>
          </a:lstStyle>
          <a:p>
            <a:pPr lvl="0"/>
            <a:r>
              <a:rPr lang="en-US" dirty="0"/>
              <a:t>Click to edit Master text styles</a:t>
            </a:r>
          </a:p>
        </p:txBody>
      </p:sp>
      <p:sp>
        <p:nvSpPr>
          <p:cNvPr id="4" name="Content Placeholder 3"/>
          <p:cNvSpPr>
            <a:spLocks noGrp="1"/>
          </p:cNvSpPr>
          <p:nvPr>
            <p:ph sz="half" idx="2"/>
          </p:nvPr>
        </p:nvSpPr>
        <p:spPr>
          <a:xfrm>
            <a:off x="1196699" y="3674110"/>
            <a:ext cx="7349846" cy="54040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8795385" y="2465706"/>
            <a:ext cx="7386043" cy="1208404"/>
          </a:xfrm>
        </p:spPr>
        <p:txBody>
          <a:bodyPr anchor="b"/>
          <a:lstStyle>
            <a:lvl1pPr marL="0" indent="0">
              <a:buNone/>
              <a:defRPr sz="4146" b="1"/>
            </a:lvl1pPr>
            <a:lvl2pPr marL="789722" indent="0">
              <a:buNone/>
              <a:defRPr sz="3455" b="1"/>
            </a:lvl2pPr>
            <a:lvl3pPr marL="1579443" indent="0">
              <a:buNone/>
              <a:defRPr sz="3109" b="1"/>
            </a:lvl3pPr>
            <a:lvl4pPr marL="2369165" indent="0">
              <a:buNone/>
              <a:defRPr sz="2764" b="1"/>
            </a:lvl4pPr>
            <a:lvl5pPr marL="3158886" indent="0">
              <a:buNone/>
              <a:defRPr sz="2764" b="1"/>
            </a:lvl5pPr>
            <a:lvl6pPr marL="3948608" indent="0">
              <a:buNone/>
              <a:defRPr sz="2764" b="1"/>
            </a:lvl6pPr>
            <a:lvl7pPr marL="4738329" indent="0">
              <a:buNone/>
              <a:defRPr sz="2764" b="1"/>
            </a:lvl7pPr>
            <a:lvl8pPr marL="5528051" indent="0">
              <a:buNone/>
              <a:defRPr sz="2764" b="1"/>
            </a:lvl8pPr>
            <a:lvl9pPr marL="6317772" indent="0">
              <a:buNone/>
              <a:defRPr sz="2764" b="1"/>
            </a:lvl9pPr>
          </a:lstStyle>
          <a:p>
            <a:pPr lvl="0"/>
            <a:r>
              <a:rPr lang="en-US" dirty="0"/>
              <a:t>Click to edit Master text styles</a:t>
            </a:r>
          </a:p>
        </p:txBody>
      </p:sp>
      <p:sp>
        <p:nvSpPr>
          <p:cNvPr id="6" name="Content Placeholder 5"/>
          <p:cNvSpPr>
            <a:spLocks noGrp="1"/>
          </p:cNvSpPr>
          <p:nvPr>
            <p:ph sz="quarter" idx="4"/>
          </p:nvPr>
        </p:nvSpPr>
        <p:spPr>
          <a:xfrm>
            <a:off x="8795385" y="3674110"/>
            <a:ext cx="7386043" cy="54040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C764DE79-268F-4C1A-8933-263129D2AF90}" type="datetimeFigureOut">
              <a:rPr lang="en-US" dirty="0"/>
              <a:t>9/10/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353926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9/10/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111580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9/10/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026511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6698" y="670560"/>
            <a:ext cx="5603438" cy="2346960"/>
          </a:xfrm>
        </p:spPr>
        <p:txBody>
          <a:bodyPr anchor="b"/>
          <a:lstStyle>
            <a:lvl1pPr>
              <a:defRPr sz="5527"/>
            </a:lvl1pPr>
          </a:lstStyle>
          <a:p>
            <a:r>
              <a:rPr lang="en-US" dirty="0"/>
              <a:t>Click to edit Master title style</a:t>
            </a:r>
          </a:p>
        </p:txBody>
      </p:sp>
      <p:sp>
        <p:nvSpPr>
          <p:cNvPr id="3" name="Content Placeholder 2"/>
          <p:cNvSpPr>
            <a:spLocks noGrp="1"/>
          </p:cNvSpPr>
          <p:nvPr>
            <p:ph idx="1"/>
          </p:nvPr>
        </p:nvSpPr>
        <p:spPr>
          <a:xfrm>
            <a:off x="7386043" y="1448224"/>
            <a:ext cx="8795385" cy="7147983"/>
          </a:xfrm>
        </p:spPr>
        <p:txBody>
          <a:bodyPr/>
          <a:lstStyle>
            <a:lvl1pPr>
              <a:defRPr sz="5527"/>
            </a:lvl1pPr>
            <a:lvl2pPr>
              <a:defRPr sz="4836"/>
            </a:lvl2pPr>
            <a:lvl3pPr>
              <a:defRPr sz="4146"/>
            </a:lvl3pPr>
            <a:lvl4pPr>
              <a:defRPr sz="3455"/>
            </a:lvl4pPr>
            <a:lvl5pPr>
              <a:defRPr sz="3455"/>
            </a:lvl5pPr>
            <a:lvl6pPr>
              <a:defRPr sz="3455"/>
            </a:lvl6pPr>
            <a:lvl7pPr>
              <a:defRPr sz="3455"/>
            </a:lvl7pPr>
            <a:lvl8pPr>
              <a:defRPr sz="3455"/>
            </a:lvl8pPr>
            <a:lvl9pPr>
              <a:defRPr sz="3455"/>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1196698" y="3017520"/>
            <a:ext cx="5603438" cy="5590329"/>
          </a:xfrm>
        </p:spPr>
        <p:txBody>
          <a:bodyPr/>
          <a:lstStyle>
            <a:lvl1pPr marL="0" indent="0">
              <a:buNone/>
              <a:defRPr sz="2764"/>
            </a:lvl1pPr>
            <a:lvl2pPr marL="789722" indent="0">
              <a:buNone/>
              <a:defRPr sz="2418"/>
            </a:lvl2pPr>
            <a:lvl3pPr marL="1579443" indent="0">
              <a:buNone/>
              <a:defRPr sz="2073"/>
            </a:lvl3pPr>
            <a:lvl4pPr marL="2369165" indent="0">
              <a:buNone/>
              <a:defRPr sz="1727"/>
            </a:lvl4pPr>
            <a:lvl5pPr marL="3158886" indent="0">
              <a:buNone/>
              <a:defRPr sz="1727"/>
            </a:lvl5pPr>
            <a:lvl6pPr marL="3948608" indent="0">
              <a:buNone/>
              <a:defRPr sz="1727"/>
            </a:lvl6pPr>
            <a:lvl7pPr marL="4738329" indent="0">
              <a:buNone/>
              <a:defRPr sz="1727"/>
            </a:lvl7pPr>
            <a:lvl8pPr marL="5528051" indent="0">
              <a:buNone/>
              <a:defRPr sz="1727"/>
            </a:lvl8pPr>
            <a:lvl9pPr marL="6317772" indent="0">
              <a:buNone/>
              <a:defRPr sz="1727"/>
            </a:lvl9pPr>
          </a:lstStyle>
          <a:p>
            <a:pPr lvl="0"/>
            <a:r>
              <a:rPr lang="en-US" dirty="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10/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456891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6698" y="670560"/>
            <a:ext cx="5603438" cy="2346960"/>
          </a:xfrm>
        </p:spPr>
        <p:txBody>
          <a:bodyPr anchor="b"/>
          <a:lstStyle>
            <a:lvl1pPr>
              <a:defRPr sz="5527"/>
            </a:lvl1pPr>
          </a:lstStyle>
          <a:p>
            <a:r>
              <a:rPr lang="en-US" dirty="0"/>
              <a:t>Click to edit Master title style</a:t>
            </a:r>
          </a:p>
        </p:txBody>
      </p:sp>
      <p:sp>
        <p:nvSpPr>
          <p:cNvPr id="3" name="Picture Placeholder 2"/>
          <p:cNvSpPr>
            <a:spLocks noGrp="1" noChangeAspect="1"/>
          </p:cNvSpPr>
          <p:nvPr>
            <p:ph type="pic" idx="1"/>
          </p:nvPr>
        </p:nvSpPr>
        <p:spPr>
          <a:xfrm>
            <a:off x="7386043" y="1448224"/>
            <a:ext cx="8795385" cy="7147983"/>
          </a:xfrm>
        </p:spPr>
        <p:txBody>
          <a:bodyPr anchor="t"/>
          <a:lstStyle>
            <a:lvl1pPr marL="0" indent="0">
              <a:buNone/>
              <a:defRPr sz="5527"/>
            </a:lvl1pPr>
            <a:lvl2pPr marL="789722" indent="0">
              <a:buNone/>
              <a:defRPr sz="4836"/>
            </a:lvl2pPr>
            <a:lvl3pPr marL="1579443" indent="0">
              <a:buNone/>
              <a:defRPr sz="4146"/>
            </a:lvl3pPr>
            <a:lvl4pPr marL="2369165" indent="0">
              <a:buNone/>
              <a:defRPr sz="3455"/>
            </a:lvl4pPr>
            <a:lvl5pPr marL="3158886" indent="0">
              <a:buNone/>
              <a:defRPr sz="3455"/>
            </a:lvl5pPr>
            <a:lvl6pPr marL="3948608" indent="0">
              <a:buNone/>
              <a:defRPr sz="3455"/>
            </a:lvl6pPr>
            <a:lvl7pPr marL="4738329" indent="0">
              <a:buNone/>
              <a:defRPr sz="3455"/>
            </a:lvl7pPr>
            <a:lvl8pPr marL="5528051" indent="0">
              <a:buNone/>
              <a:defRPr sz="3455"/>
            </a:lvl8pPr>
            <a:lvl9pPr marL="6317772" indent="0">
              <a:buNone/>
              <a:defRPr sz="3455"/>
            </a:lvl9pPr>
          </a:lstStyle>
          <a:p>
            <a:endParaRPr lang="en-US" dirty="0"/>
          </a:p>
        </p:txBody>
      </p:sp>
      <p:sp>
        <p:nvSpPr>
          <p:cNvPr id="4" name="Text Placeholder 3"/>
          <p:cNvSpPr>
            <a:spLocks noGrp="1"/>
          </p:cNvSpPr>
          <p:nvPr>
            <p:ph type="body" sz="half" idx="2"/>
          </p:nvPr>
        </p:nvSpPr>
        <p:spPr>
          <a:xfrm>
            <a:off x="1196698" y="3017520"/>
            <a:ext cx="5603438" cy="5590329"/>
          </a:xfrm>
        </p:spPr>
        <p:txBody>
          <a:bodyPr/>
          <a:lstStyle>
            <a:lvl1pPr marL="0" indent="0">
              <a:buNone/>
              <a:defRPr sz="2764"/>
            </a:lvl1pPr>
            <a:lvl2pPr marL="789722" indent="0">
              <a:buNone/>
              <a:defRPr sz="2418"/>
            </a:lvl2pPr>
            <a:lvl3pPr marL="1579443" indent="0">
              <a:buNone/>
              <a:defRPr sz="2073"/>
            </a:lvl3pPr>
            <a:lvl4pPr marL="2369165" indent="0">
              <a:buNone/>
              <a:defRPr sz="1727"/>
            </a:lvl4pPr>
            <a:lvl5pPr marL="3158886" indent="0">
              <a:buNone/>
              <a:defRPr sz="1727"/>
            </a:lvl5pPr>
            <a:lvl6pPr marL="3948608" indent="0">
              <a:buNone/>
              <a:defRPr sz="1727"/>
            </a:lvl6pPr>
            <a:lvl7pPr marL="4738329" indent="0">
              <a:buNone/>
              <a:defRPr sz="1727"/>
            </a:lvl7pPr>
            <a:lvl8pPr marL="5528051" indent="0">
              <a:buNone/>
              <a:defRPr sz="1727"/>
            </a:lvl8pPr>
            <a:lvl9pPr marL="6317772" indent="0">
              <a:buNone/>
              <a:defRPr sz="1727"/>
            </a:lvl9pPr>
          </a:lstStyle>
          <a:p>
            <a:pPr lvl="0"/>
            <a:r>
              <a:rPr lang="en-US" dirty="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10/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7882615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2.jp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2.jp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9.pn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ags" Target="../tags/tag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17" Type="http://schemas.openxmlformats.org/officeDocument/2006/relationships/image" Target="../media/image7.png"/><Relationship Id="rId2" Type="http://schemas.openxmlformats.org/officeDocument/2006/relationships/slideLayout" Target="../slideLayouts/slideLayout37.xml"/><Relationship Id="rId16" Type="http://schemas.openxmlformats.org/officeDocument/2006/relationships/image" Target="../media/image9.pn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image" Target="../media/image15.emf"/><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94435" y="535517"/>
            <a:ext cx="14984730" cy="1944159"/>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194435" y="2677584"/>
            <a:ext cx="14984730" cy="6381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194435" y="9322647"/>
            <a:ext cx="3909060" cy="535517"/>
          </a:xfrm>
          <a:prstGeom prst="rect">
            <a:avLst/>
          </a:prstGeom>
        </p:spPr>
        <p:txBody>
          <a:bodyPr vert="horz" lIns="91440" tIns="45720" rIns="91440" bIns="45720" rtlCol="0" anchor="ctr"/>
          <a:lstStyle>
            <a:lvl1pPr algn="l">
              <a:defRPr sz="2073">
                <a:solidFill>
                  <a:schemeClr val="tx1">
                    <a:tint val="75000"/>
                  </a:schemeClr>
                </a:solidFill>
              </a:defRPr>
            </a:lvl1pPr>
          </a:lstStyle>
          <a:p>
            <a:fld id="{C764DE79-268F-4C1A-8933-263129D2AF90}" type="datetimeFigureOut">
              <a:rPr lang="en-US" dirty="0"/>
              <a:t>9/10/2024</a:t>
            </a:fld>
            <a:endParaRPr lang="en-US" dirty="0"/>
          </a:p>
        </p:txBody>
      </p:sp>
      <p:sp>
        <p:nvSpPr>
          <p:cNvPr id="5" name="Footer Placeholder 4"/>
          <p:cNvSpPr>
            <a:spLocks noGrp="1"/>
          </p:cNvSpPr>
          <p:nvPr>
            <p:ph type="ftr" sz="quarter" idx="3"/>
          </p:nvPr>
        </p:nvSpPr>
        <p:spPr>
          <a:xfrm>
            <a:off x="5755005" y="9322647"/>
            <a:ext cx="5863590" cy="535517"/>
          </a:xfrm>
          <a:prstGeom prst="rect">
            <a:avLst/>
          </a:prstGeom>
        </p:spPr>
        <p:txBody>
          <a:bodyPr vert="horz" lIns="91440" tIns="45720" rIns="91440" bIns="45720" rtlCol="0" anchor="ctr"/>
          <a:lstStyle>
            <a:lvl1pPr algn="ctr">
              <a:defRPr sz="2073">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2270105" y="9322647"/>
            <a:ext cx="3909060" cy="535517"/>
          </a:xfrm>
          <a:prstGeom prst="rect">
            <a:avLst/>
          </a:prstGeom>
        </p:spPr>
        <p:txBody>
          <a:bodyPr vert="horz" lIns="91440" tIns="45720" rIns="91440" bIns="45720" rtlCol="0" anchor="ctr"/>
          <a:lstStyle>
            <a:lvl1pPr algn="r">
              <a:defRPr sz="2073">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002446658"/>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ITAS-PPT-Footer.jpg"/>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0" y="9429458"/>
            <a:ext cx="17373600" cy="658162"/>
          </a:xfrm>
          <a:prstGeom prst="rect">
            <a:avLst/>
          </a:prstGeom>
        </p:spPr>
      </p:pic>
      <p:sp>
        <p:nvSpPr>
          <p:cNvPr id="1030" name="Text Placeholder 10"/>
          <p:cNvSpPr txBox="1">
            <a:spLocks/>
          </p:cNvSpPr>
          <p:nvPr/>
        </p:nvSpPr>
        <p:spPr bwMode="auto">
          <a:xfrm>
            <a:off x="16246833" y="9307371"/>
            <a:ext cx="1307746"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rgbClr val="FFFFFF">
                    <a:lumMod val="65000"/>
                  </a:srgbClr>
                </a:solidFill>
                <a:latin typeface="Arial" pitchFamily="34" charset="0"/>
                <a:ea typeface="MS PGothic" pitchFamily="34" charset="-128"/>
                <a:cs typeface="Arial" pitchFamily="34" charset="0"/>
                <a:sym typeface="Arial" pitchFamily="34" charset="0"/>
              </a:rPr>
              <a:t>  </a:t>
            </a:r>
            <a:fld id="{C1209FD9-C7F3-4875-AF7D-3292D13E6022}" type="slidenum">
              <a:rPr lang="en-US" sz="1530">
                <a:solidFill>
                  <a:srgbClr val="FFFFFF"/>
                </a:solidFill>
                <a:latin typeface="Arial" pitchFamily="34" charset="0"/>
                <a:ea typeface="MS PGothic" pitchFamily="34" charset="-128"/>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latin typeface="Arial" pitchFamily="34" charset="0"/>
              <a:ea typeface="MS PGothic" pitchFamily="34" charset="-128"/>
              <a:cs typeface="Arial" pitchFamily="34" charset="0"/>
              <a:sym typeface="Arial" pitchFamily="34" charset="0"/>
            </a:endParaRPr>
          </a:p>
        </p:txBody>
      </p:sp>
      <p:sp>
        <p:nvSpPr>
          <p:cNvPr id="5" name="TextBox 4"/>
          <p:cNvSpPr txBox="1"/>
          <p:nvPr userDrawn="1"/>
        </p:nvSpPr>
        <p:spPr>
          <a:xfrm>
            <a:off x="15955918" y="6"/>
            <a:ext cx="1417685" cy="406265"/>
          </a:xfrm>
          <a:prstGeom prst="rect">
            <a:avLst/>
          </a:prstGeom>
          <a:noFill/>
        </p:spPr>
        <p:txBody>
          <a:bodyPr wrap="square" rtlCol="0">
            <a:spAutoFit/>
          </a:bodyPr>
          <a:lstStyle/>
          <a:p>
            <a:r>
              <a:rPr lang="en-US" sz="2040" dirty="0">
                <a:solidFill>
                  <a:srgbClr val="FF0000"/>
                </a:solidFill>
                <a:latin typeface="Arial" pitchFamily="34" charset="0"/>
                <a:ea typeface="MS PGothic" pitchFamily="34" charset="-128"/>
                <a:cs typeface="+mn-cs"/>
              </a:rPr>
              <a:t>DRAFT</a:t>
            </a:r>
          </a:p>
        </p:txBody>
      </p:sp>
      <p:sp>
        <p:nvSpPr>
          <p:cNvPr id="9" name="Title 1">
            <a:extLst>
              <a:ext uri="{FF2B5EF4-FFF2-40B4-BE49-F238E27FC236}">
                <a16:creationId xmlns:a16="http://schemas.microsoft.com/office/drawing/2014/main" id="{53CFF25A-6D7D-413B-B62C-B9A2137217EE}"/>
              </a:ext>
            </a:extLst>
          </p:cNvPr>
          <p:cNvSpPr txBox="1">
            <a:spLocks/>
          </p:cNvSpPr>
          <p:nvPr userDrawn="1"/>
        </p:nvSpPr>
        <p:spPr>
          <a:xfrm>
            <a:off x="868680" y="670560"/>
            <a:ext cx="15636240" cy="782320"/>
          </a:xfrm>
          <a:prstGeom prst="rect">
            <a:avLst/>
          </a:prstGeom>
        </p:spPr>
        <p:txBody>
          <a:bodyPr/>
          <a:lstStyle>
            <a:lvl1pPr algn="l" defTabSz="774508" rtl="0" eaLnBrk="1" fontAlgn="base" hangingPunct="1">
              <a:spcBef>
                <a:spcPct val="0"/>
              </a:spcBef>
              <a:spcAft>
                <a:spcPct val="0"/>
              </a:spcAft>
              <a:defRPr sz="4080" kern="1200">
                <a:solidFill>
                  <a:schemeClr val="accent3"/>
                </a:solidFill>
                <a:latin typeface="+mj-lt"/>
                <a:ea typeface="MS PGothic" pitchFamily="34" charset="-128"/>
                <a:cs typeface="Lato Medium"/>
              </a:defRPr>
            </a:lvl1pPr>
            <a:lvl2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2pPr>
            <a:lvl3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3pPr>
            <a:lvl4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4pPr>
            <a:lvl5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5pPr>
            <a:lvl6pPr marL="776390"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6pPr>
            <a:lvl7pPr marL="1552786"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7pPr>
            <a:lvl8pPr marL="2329181"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8pPr>
            <a:lvl9pPr marL="3105573"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9pPr>
          </a:lstStyle>
          <a:p>
            <a:r>
              <a:rPr lang="en-US" sz="4080" dirty="0"/>
              <a:t>Click to edit Master title style</a:t>
            </a:r>
          </a:p>
        </p:txBody>
      </p:sp>
      <p:sp>
        <p:nvSpPr>
          <p:cNvPr id="10" name="Text Placeholder 4">
            <a:extLst>
              <a:ext uri="{FF2B5EF4-FFF2-40B4-BE49-F238E27FC236}">
                <a16:creationId xmlns:a16="http://schemas.microsoft.com/office/drawing/2014/main" id="{9F3E12BE-E36B-46BD-A253-3DF8FD7BEF2C}"/>
              </a:ext>
            </a:extLst>
          </p:cNvPr>
          <p:cNvSpPr txBox="1">
            <a:spLocks/>
          </p:cNvSpPr>
          <p:nvPr userDrawn="1"/>
        </p:nvSpPr>
        <p:spPr>
          <a:xfrm>
            <a:off x="868680" y="1623295"/>
            <a:ext cx="15636240" cy="7102926"/>
          </a:xfrm>
          <a:prstGeom prst="rect">
            <a:avLst/>
          </a:prstGeom>
        </p:spPr>
        <p:txBody>
          <a:bodyPr/>
          <a:lstStyle>
            <a:lvl1pPr marL="199699" indent="-199699" algn="l" defTabSz="774508" rtl="0" eaLnBrk="1" fontAlgn="base" hangingPunct="1">
              <a:spcBef>
                <a:spcPts val="0"/>
              </a:spcBef>
              <a:spcAft>
                <a:spcPts val="1020"/>
              </a:spcAft>
              <a:buClr>
                <a:schemeClr val="accent5">
                  <a:lumMod val="75000"/>
                </a:schemeClr>
              </a:buClr>
              <a:buSzPct val="120000"/>
              <a:buFont typeface="Arial" panose="020B0604020202020204" pitchFamily="34" charset="0"/>
              <a:buChar char="-"/>
              <a:defRPr sz="1700" b="1" kern="1200">
                <a:solidFill>
                  <a:schemeClr val="accent3"/>
                </a:solidFill>
                <a:latin typeface="+mj-lt"/>
                <a:ea typeface="MS PGothic" pitchFamily="34" charset="-128"/>
                <a:cs typeface="Lato Regular"/>
              </a:defRPr>
            </a:lvl1pPr>
            <a:lvl2pPr marL="777205" indent="-248274" algn="l" defTabSz="774508" rtl="0" eaLnBrk="1" fontAlgn="base" hangingPunct="1">
              <a:spcBef>
                <a:spcPts val="0"/>
              </a:spcBef>
              <a:spcAft>
                <a:spcPts val="1020"/>
              </a:spcAft>
              <a:buClr>
                <a:schemeClr val="tx1">
                  <a:lumMod val="65000"/>
                  <a:lumOff val="35000"/>
                </a:schemeClr>
              </a:buClr>
              <a:buFont typeface="Arial" pitchFamily="34" charset="0"/>
              <a:buChar char="–"/>
              <a:defRPr sz="1700" i="0" kern="1200">
                <a:solidFill>
                  <a:schemeClr val="accent6"/>
                </a:solidFill>
                <a:latin typeface="+mj-lt"/>
                <a:ea typeface="MS PGothic" pitchFamily="34" charset="-128"/>
                <a:cs typeface="Lato Regular"/>
              </a:defRPr>
            </a:lvl2pPr>
            <a:lvl3pPr marL="1551714" indent="-399397"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rgbClr val="0070C0"/>
                </a:solidFill>
                <a:latin typeface="+mj-lt"/>
                <a:ea typeface="MS PGothic" pitchFamily="34" charset="-128"/>
                <a:cs typeface="Lato Regular"/>
              </a:defRPr>
            </a:lvl3pPr>
            <a:lvl4pPr marL="2015878" indent="-399397" algn="l" defTabSz="774508" rtl="0" eaLnBrk="1" fontAlgn="base" hangingPunct="1">
              <a:spcBef>
                <a:spcPts val="0"/>
              </a:spcBef>
              <a:spcAft>
                <a:spcPts val="1020"/>
              </a:spcAft>
              <a:buClr>
                <a:schemeClr val="tx1">
                  <a:lumMod val="65000"/>
                  <a:lumOff val="35000"/>
                </a:schemeClr>
              </a:buClr>
              <a:buFont typeface="Arial" pitchFamily="34" charset="0"/>
              <a:buChar char="–"/>
              <a:defRPr sz="1700" i="0" kern="1200">
                <a:solidFill>
                  <a:srgbClr val="0070C0"/>
                </a:solidFill>
                <a:latin typeface="+mj-lt"/>
                <a:ea typeface="MS PGothic" pitchFamily="34" charset="-128"/>
                <a:cs typeface="Lato Regular"/>
              </a:defRPr>
            </a:lvl4pPr>
            <a:lvl5pPr marL="2482740" indent="-399397"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rgbClr val="0070C0"/>
                </a:solidFill>
                <a:latin typeface="+mj-lt"/>
                <a:ea typeface="MS PGothic" pitchFamily="34" charset="-128"/>
                <a:cs typeface="Lato Regular"/>
              </a:defRPr>
            </a:lvl5pPr>
            <a:lvl6pPr marL="4270133" indent="-388187" algn="l" defTabSz="776390" rtl="0" eaLnBrk="1" latinLnBrk="0" hangingPunct="1">
              <a:spcBef>
                <a:spcPct val="20000"/>
              </a:spcBef>
              <a:buFont typeface="Arial"/>
              <a:buChar char="•"/>
              <a:defRPr sz="3400" kern="1200">
                <a:solidFill>
                  <a:schemeClr val="tx1"/>
                </a:solidFill>
                <a:latin typeface="+mn-lt"/>
                <a:ea typeface="+mn-ea"/>
                <a:cs typeface="+mn-cs"/>
              </a:defRPr>
            </a:lvl6pPr>
            <a:lvl7pPr marL="5046528" indent="-388187" algn="l" defTabSz="776390" rtl="0" eaLnBrk="1" latinLnBrk="0" hangingPunct="1">
              <a:spcBef>
                <a:spcPct val="20000"/>
              </a:spcBef>
              <a:buFont typeface="Arial"/>
              <a:buChar char="•"/>
              <a:defRPr sz="3400" kern="1200">
                <a:solidFill>
                  <a:schemeClr val="tx1"/>
                </a:solidFill>
                <a:latin typeface="+mn-lt"/>
                <a:ea typeface="+mn-ea"/>
                <a:cs typeface="+mn-cs"/>
              </a:defRPr>
            </a:lvl7pPr>
            <a:lvl8pPr marL="5822921" indent="-388187" algn="l" defTabSz="776390" rtl="0" eaLnBrk="1" latinLnBrk="0" hangingPunct="1">
              <a:spcBef>
                <a:spcPct val="20000"/>
              </a:spcBef>
              <a:buFont typeface="Arial"/>
              <a:buChar char="•"/>
              <a:defRPr sz="3400" kern="1200">
                <a:solidFill>
                  <a:schemeClr val="tx1"/>
                </a:solidFill>
                <a:latin typeface="+mn-lt"/>
                <a:ea typeface="+mn-ea"/>
                <a:cs typeface="+mn-cs"/>
              </a:defRPr>
            </a:lvl8pPr>
            <a:lvl9pPr marL="6599320" indent="-388187" algn="l" defTabSz="776390" rtl="0" eaLnBrk="1" latinLnBrk="0" hangingPunct="1">
              <a:spcBef>
                <a:spcPct val="20000"/>
              </a:spcBef>
              <a:buFont typeface="Arial"/>
              <a:buChar char="•"/>
              <a:defRPr sz="3400" kern="1200">
                <a:solidFill>
                  <a:schemeClr val="tx1"/>
                </a:solidFill>
                <a:latin typeface="+mn-lt"/>
                <a:ea typeface="+mn-ea"/>
                <a:cs typeface="+mn-cs"/>
              </a:defRPr>
            </a:lvl9pPr>
          </a:lstStyle>
          <a:p>
            <a:r>
              <a:rPr lang="en-US" sz="1700" dirty="0"/>
              <a:t>Click to edit Master text styles</a:t>
            </a:r>
          </a:p>
          <a:p>
            <a:pPr lvl="1"/>
            <a:r>
              <a:rPr lang="en-US" sz="1700" dirty="0"/>
              <a:t>Second level</a:t>
            </a:r>
          </a:p>
          <a:p>
            <a:pPr lvl="2"/>
            <a:r>
              <a:rPr lang="en-US" sz="1700" dirty="0"/>
              <a:t>Third level</a:t>
            </a:r>
          </a:p>
          <a:p>
            <a:pPr lvl="3"/>
            <a:r>
              <a:rPr lang="en-US" sz="1700" dirty="0"/>
              <a:t>Fourth level</a:t>
            </a:r>
          </a:p>
          <a:p>
            <a:pPr lvl="4"/>
            <a:r>
              <a:rPr lang="en-US" sz="1700" dirty="0"/>
              <a:t>Fifth level</a:t>
            </a:r>
          </a:p>
        </p:txBody>
      </p:sp>
    </p:spTree>
    <p:extLst>
      <p:ext uri="{BB962C8B-B14F-4D97-AF65-F5344CB8AC3E}">
        <p14:creationId xmlns:p14="http://schemas.microsoft.com/office/powerpoint/2010/main" val="2373018287"/>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774508" rtl="0" eaLnBrk="1" fontAlgn="base" hangingPunct="1">
        <a:spcBef>
          <a:spcPct val="0"/>
        </a:spcBef>
        <a:spcAft>
          <a:spcPct val="0"/>
        </a:spcAft>
        <a:defRPr sz="4080" kern="1200">
          <a:solidFill>
            <a:schemeClr val="accent3"/>
          </a:solidFill>
          <a:latin typeface="+mj-lt"/>
          <a:ea typeface="MS PGothic" pitchFamily="34" charset="-128"/>
          <a:cs typeface="Lato Medium"/>
        </a:defRPr>
      </a:lvl1pPr>
      <a:lvl2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2pPr>
      <a:lvl3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3pPr>
      <a:lvl4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4pPr>
      <a:lvl5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5pPr>
      <a:lvl6pPr marL="776390"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6pPr>
      <a:lvl7pPr marL="1552786"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7pPr>
      <a:lvl8pPr marL="2329181"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8pPr>
      <a:lvl9pPr marL="3105573"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9pPr>
    </p:titleStyle>
    <p:bodyStyle>
      <a:lvl1pPr marL="350823" indent="-350823" algn="l" defTabSz="774508" rtl="0" eaLnBrk="1" fontAlgn="base" hangingPunct="1">
        <a:spcBef>
          <a:spcPts val="0"/>
        </a:spcBef>
        <a:spcAft>
          <a:spcPts val="1020"/>
        </a:spcAft>
        <a:buClr>
          <a:schemeClr val="tx1">
            <a:lumMod val="65000"/>
            <a:lumOff val="35000"/>
          </a:schemeClr>
        </a:buClr>
        <a:buSzPct val="120000"/>
        <a:buFont typeface="Arial" pitchFamily="34" charset="0"/>
        <a:buChar char="•"/>
        <a:defRPr sz="1700" kern="1200">
          <a:solidFill>
            <a:schemeClr val="accent3"/>
          </a:solidFill>
          <a:latin typeface="Lato Regular"/>
          <a:ea typeface="MS PGothic" pitchFamily="34" charset="-128"/>
          <a:cs typeface="Lato Regular"/>
        </a:defRPr>
      </a:lvl1pPr>
      <a:lvl2pPr marL="777205" indent="-248274"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chemeClr val="accent3"/>
          </a:solidFill>
          <a:latin typeface="Lato Regular"/>
          <a:ea typeface="MS PGothic" pitchFamily="34" charset="-128"/>
          <a:cs typeface="Lato Regular"/>
        </a:defRPr>
      </a:lvl2pPr>
      <a:lvl3pPr marL="1551714" indent="-399397"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chemeClr val="accent3"/>
          </a:solidFill>
          <a:latin typeface="Lato Regular"/>
          <a:ea typeface="MS PGothic" pitchFamily="34" charset="-128"/>
          <a:cs typeface="Lato Regular"/>
        </a:defRPr>
      </a:lvl3pPr>
      <a:lvl4pPr marL="2015878" indent="-399397"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chemeClr val="accent3"/>
          </a:solidFill>
          <a:latin typeface="Lato Regular"/>
          <a:ea typeface="MS PGothic" pitchFamily="34" charset="-128"/>
          <a:cs typeface="Lato Regular"/>
        </a:defRPr>
      </a:lvl4pPr>
      <a:lvl5pPr marL="2482740" indent="-399397"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chemeClr val="accent3"/>
          </a:solidFill>
          <a:latin typeface="Lato Regular"/>
          <a:ea typeface="MS PGothic" pitchFamily="34" charset="-128"/>
          <a:cs typeface="Lato Regular"/>
        </a:defRPr>
      </a:lvl5pPr>
      <a:lvl6pPr marL="4270133" indent="-388187" algn="l" defTabSz="776390" rtl="0" eaLnBrk="1" latinLnBrk="0" hangingPunct="1">
        <a:spcBef>
          <a:spcPct val="20000"/>
        </a:spcBef>
        <a:buFont typeface="Arial"/>
        <a:buChar char="•"/>
        <a:defRPr sz="3400" kern="1200">
          <a:solidFill>
            <a:schemeClr val="tx1"/>
          </a:solidFill>
          <a:latin typeface="+mn-lt"/>
          <a:ea typeface="+mn-ea"/>
          <a:cs typeface="+mn-cs"/>
        </a:defRPr>
      </a:lvl6pPr>
      <a:lvl7pPr marL="5046528" indent="-388187" algn="l" defTabSz="776390" rtl="0" eaLnBrk="1" latinLnBrk="0" hangingPunct="1">
        <a:spcBef>
          <a:spcPct val="20000"/>
        </a:spcBef>
        <a:buFont typeface="Arial"/>
        <a:buChar char="•"/>
        <a:defRPr sz="3400" kern="1200">
          <a:solidFill>
            <a:schemeClr val="tx1"/>
          </a:solidFill>
          <a:latin typeface="+mn-lt"/>
          <a:ea typeface="+mn-ea"/>
          <a:cs typeface="+mn-cs"/>
        </a:defRPr>
      </a:lvl7pPr>
      <a:lvl8pPr marL="5822921" indent="-388187" algn="l" defTabSz="776390" rtl="0" eaLnBrk="1" latinLnBrk="0" hangingPunct="1">
        <a:spcBef>
          <a:spcPct val="20000"/>
        </a:spcBef>
        <a:buFont typeface="Arial"/>
        <a:buChar char="•"/>
        <a:defRPr sz="3400" kern="1200">
          <a:solidFill>
            <a:schemeClr val="tx1"/>
          </a:solidFill>
          <a:latin typeface="+mn-lt"/>
          <a:ea typeface="+mn-ea"/>
          <a:cs typeface="+mn-cs"/>
        </a:defRPr>
      </a:lvl8pPr>
      <a:lvl9pPr marL="6599320" indent="-388187" algn="l" defTabSz="776390" rtl="0" eaLnBrk="1" latinLnBrk="0" hangingPunct="1">
        <a:spcBef>
          <a:spcPct val="20000"/>
        </a:spcBef>
        <a:buFont typeface="Arial"/>
        <a:buChar char="•"/>
        <a:defRPr sz="3400" kern="1200">
          <a:solidFill>
            <a:schemeClr val="tx1"/>
          </a:solidFill>
          <a:latin typeface="+mn-lt"/>
          <a:ea typeface="+mn-ea"/>
          <a:cs typeface="+mn-cs"/>
        </a:defRPr>
      </a:lvl9pPr>
    </p:bodyStyle>
    <p:otherStyle>
      <a:defPPr>
        <a:defRPr lang="en-US"/>
      </a:defPPr>
      <a:lvl1pPr marL="0" algn="l" defTabSz="776390" rtl="0" eaLnBrk="1" latinLnBrk="0" hangingPunct="1">
        <a:defRPr sz="3060" kern="1200">
          <a:solidFill>
            <a:schemeClr val="tx1"/>
          </a:solidFill>
          <a:latin typeface="+mn-lt"/>
          <a:ea typeface="+mn-ea"/>
          <a:cs typeface="+mn-cs"/>
        </a:defRPr>
      </a:lvl1pPr>
      <a:lvl2pPr marL="776390" algn="l" defTabSz="776390" rtl="0" eaLnBrk="1" latinLnBrk="0" hangingPunct="1">
        <a:defRPr sz="3060" kern="1200">
          <a:solidFill>
            <a:schemeClr val="tx1"/>
          </a:solidFill>
          <a:latin typeface="+mn-lt"/>
          <a:ea typeface="+mn-ea"/>
          <a:cs typeface="+mn-cs"/>
        </a:defRPr>
      </a:lvl2pPr>
      <a:lvl3pPr marL="1552786" algn="l" defTabSz="776390" rtl="0" eaLnBrk="1" latinLnBrk="0" hangingPunct="1">
        <a:defRPr sz="3060" kern="1200">
          <a:solidFill>
            <a:schemeClr val="tx1"/>
          </a:solidFill>
          <a:latin typeface="+mn-lt"/>
          <a:ea typeface="+mn-ea"/>
          <a:cs typeface="+mn-cs"/>
        </a:defRPr>
      </a:lvl3pPr>
      <a:lvl4pPr marL="2329181" algn="l" defTabSz="776390" rtl="0" eaLnBrk="1" latinLnBrk="0" hangingPunct="1">
        <a:defRPr sz="3060" kern="1200">
          <a:solidFill>
            <a:schemeClr val="tx1"/>
          </a:solidFill>
          <a:latin typeface="+mn-lt"/>
          <a:ea typeface="+mn-ea"/>
          <a:cs typeface="+mn-cs"/>
        </a:defRPr>
      </a:lvl4pPr>
      <a:lvl5pPr marL="3105573" algn="l" defTabSz="776390" rtl="0" eaLnBrk="1" latinLnBrk="0" hangingPunct="1">
        <a:defRPr sz="3060" kern="1200">
          <a:solidFill>
            <a:schemeClr val="tx1"/>
          </a:solidFill>
          <a:latin typeface="+mn-lt"/>
          <a:ea typeface="+mn-ea"/>
          <a:cs typeface="+mn-cs"/>
        </a:defRPr>
      </a:lvl5pPr>
      <a:lvl6pPr marL="3881956" algn="l" defTabSz="776390" rtl="0" eaLnBrk="1" latinLnBrk="0" hangingPunct="1">
        <a:defRPr sz="3060" kern="1200">
          <a:solidFill>
            <a:schemeClr val="tx1"/>
          </a:solidFill>
          <a:latin typeface="+mn-lt"/>
          <a:ea typeface="+mn-ea"/>
          <a:cs typeface="+mn-cs"/>
        </a:defRPr>
      </a:lvl6pPr>
      <a:lvl7pPr marL="4658343" algn="l" defTabSz="776390" rtl="0" eaLnBrk="1" latinLnBrk="0" hangingPunct="1">
        <a:defRPr sz="3060" kern="1200">
          <a:solidFill>
            <a:schemeClr val="tx1"/>
          </a:solidFill>
          <a:latin typeface="+mn-lt"/>
          <a:ea typeface="+mn-ea"/>
          <a:cs typeface="+mn-cs"/>
        </a:defRPr>
      </a:lvl7pPr>
      <a:lvl8pPr marL="5434728" algn="l" defTabSz="776390" rtl="0" eaLnBrk="1" latinLnBrk="0" hangingPunct="1">
        <a:defRPr sz="3060" kern="1200">
          <a:solidFill>
            <a:schemeClr val="tx1"/>
          </a:solidFill>
          <a:latin typeface="+mn-lt"/>
          <a:ea typeface="+mn-ea"/>
          <a:cs typeface="+mn-cs"/>
        </a:defRPr>
      </a:lvl8pPr>
      <a:lvl9pPr marL="6211140" algn="l" defTabSz="776390" rtl="0" eaLnBrk="1" latinLnBrk="0" hangingPunct="1">
        <a:defRPr sz="30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15" cstate="print">
            <a:extLst>
              <a:ext uri="{28A0092B-C50C-407E-A947-70E740481C1C}">
                <a14:useLocalDpi xmlns:a14="http://schemas.microsoft.com/office/drawing/2010/main" val="0"/>
              </a:ext>
            </a:extLst>
          </a:blip>
          <a:srcRect t="18516" r="11828"/>
          <a:stretch/>
        </p:blipFill>
        <p:spPr>
          <a:xfrm>
            <a:off x="1" y="729896"/>
            <a:ext cx="13555383" cy="9386184"/>
          </a:xfrm>
          <a:prstGeom prst="rect">
            <a:avLst/>
          </a:prstGeom>
        </p:spPr>
      </p:pic>
      <p:sp>
        <p:nvSpPr>
          <p:cNvPr id="2051" name="Title Placeholder 1"/>
          <p:cNvSpPr>
            <a:spLocks noGrp="1"/>
          </p:cNvSpPr>
          <p:nvPr>
            <p:ph type="title"/>
          </p:nvPr>
        </p:nvSpPr>
        <p:spPr bwMode="auto">
          <a:xfrm>
            <a:off x="868680" y="429158"/>
            <a:ext cx="15636240" cy="71059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2052" name="Text Placeholder 2"/>
          <p:cNvSpPr>
            <a:spLocks noGrp="1"/>
          </p:cNvSpPr>
          <p:nvPr>
            <p:ph type="body" idx="1"/>
          </p:nvPr>
        </p:nvSpPr>
        <p:spPr bwMode="auto">
          <a:xfrm>
            <a:off x="868680" y="2011688"/>
            <a:ext cx="15636240" cy="697335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2"/>
          <p:cNvSpPr/>
          <p:nvPr userDrawn="1"/>
        </p:nvSpPr>
        <p:spPr>
          <a:xfrm>
            <a:off x="1" y="4172379"/>
            <a:ext cx="8303559" cy="5215467"/>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 name="Picture 3" descr="ITAS-PPT-Footer.jpg"/>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9429458"/>
            <a:ext cx="17373600" cy="658162"/>
          </a:xfrm>
          <a:prstGeom prst="rect">
            <a:avLst/>
          </a:prstGeom>
        </p:spPr>
      </p:pic>
      <p:sp>
        <p:nvSpPr>
          <p:cNvPr id="1030" name="Text Placeholder 10"/>
          <p:cNvSpPr txBox="1">
            <a:spLocks/>
          </p:cNvSpPr>
          <p:nvPr/>
        </p:nvSpPr>
        <p:spPr bwMode="auto">
          <a:xfrm>
            <a:off x="16246833" y="9307371"/>
            <a:ext cx="1307746"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chemeClr val="bg1">
                    <a:lumMod val="65000"/>
                  </a:schemeClr>
                </a:solidFill>
                <a:cs typeface="Arial" pitchFamily="34" charset="0"/>
                <a:sym typeface="Arial" pitchFamily="34" charset="0"/>
              </a:rPr>
              <a:t>  </a:t>
            </a:r>
            <a:fld id="{C1209FD9-C7F3-4875-AF7D-3292D13E6022}" type="slidenum">
              <a:rPr lang="en-US" sz="1530">
                <a:solidFill>
                  <a:srgbClr val="FFFFFF"/>
                </a:solidFill>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927504933"/>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774508" rtl="0" eaLnBrk="1" fontAlgn="base" hangingPunct="1">
        <a:spcBef>
          <a:spcPct val="0"/>
        </a:spcBef>
        <a:spcAft>
          <a:spcPct val="0"/>
        </a:spcAft>
        <a:defRPr sz="4080" kern="1200">
          <a:solidFill>
            <a:srgbClr val="12C2E9"/>
          </a:solidFill>
          <a:latin typeface="Lato Medium"/>
          <a:ea typeface="MS PGothic" pitchFamily="34" charset="-128"/>
          <a:cs typeface="Lato Medium"/>
        </a:defRPr>
      </a:lvl1pPr>
      <a:lvl2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2pPr>
      <a:lvl3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3pPr>
      <a:lvl4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4pPr>
      <a:lvl5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5pPr>
      <a:lvl6pPr marL="776390"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6pPr>
      <a:lvl7pPr marL="1552786"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7pPr>
      <a:lvl8pPr marL="2329181"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8pPr>
      <a:lvl9pPr marL="3105573"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9pPr>
    </p:titleStyle>
    <p:bodyStyle>
      <a:lvl1pPr marL="350823" indent="-350823" algn="l" defTabSz="774508" rtl="0" eaLnBrk="1" fontAlgn="base" hangingPunct="1">
        <a:spcBef>
          <a:spcPts val="0"/>
        </a:spcBef>
        <a:spcAft>
          <a:spcPts val="1020"/>
        </a:spcAft>
        <a:buClr>
          <a:schemeClr val="tx1">
            <a:lumMod val="65000"/>
            <a:lumOff val="35000"/>
          </a:schemeClr>
        </a:buClr>
        <a:buSzPct val="120000"/>
        <a:buFont typeface="Arial" pitchFamily="34" charset="0"/>
        <a:buChar char="•"/>
        <a:defRPr sz="1700" kern="1200">
          <a:solidFill>
            <a:schemeClr val="accent3"/>
          </a:solidFill>
          <a:latin typeface="Lato Regular"/>
          <a:ea typeface="MS PGothic" pitchFamily="34" charset="-128"/>
          <a:cs typeface="Lato Regular"/>
        </a:defRPr>
      </a:lvl1pPr>
      <a:lvl2pPr marL="777205" indent="-248274"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chemeClr val="accent3"/>
          </a:solidFill>
          <a:latin typeface="Lato Regular"/>
          <a:ea typeface="MS PGothic" pitchFamily="34" charset="-128"/>
          <a:cs typeface="Lato Regular"/>
        </a:defRPr>
      </a:lvl2pPr>
      <a:lvl3pPr marL="1551714" indent="-399397"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chemeClr val="accent3"/>
          </a:solidFill>
          <a:latin typeface="Lato Regular"/>
          <a:ea typeface="MS PGothic" pitchFamily="34" charset="-128"/>
          <a:cs typeface="Lato Regular"/>
        </a:defRPr>
      </a:lvl3pPr>
      <a:lvl4pPr marL="2015878" indent="-399397"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chemeClr val="accent3"/>
          </a:solidFill>
          <a:latin typeface="Lato Regular"/>
          <a:ea typeface="MS PGothic" pitchFamily="34" charset="-128"/>
          <a:cs typeface="Lato Regular"/>
        </a:defRPr>
      </a:lvl4pPr>
      <a:lvl5pPr marL="2482740" indent="-399397"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chemeClr val="accent3"/>
          </a:solidFill>
          <a:latin typeface="Lato Regular"/>
          <a:ea typeface="MS PGothic" pitchFamily="34" charset="-128"/>
          <a:cs typeface="Lato Regular"/>
        </a:defRPr>
      </a:lvl5pPr>
      <a:lvl6pPr marL="4270133" indent="-388187" algn="l" defTabSz="776390" rtl="0" eaLnBrk="1" latinLnBrk="0" hangingPunct="1">
        <a:spcBef>
          <a:spcPct val="20000"/>
        </a:spcBef>
        <a:buFont typeface="Arial"/>
        <a:buChar char="•"/>
        <a:defRPr sz="3400" kern="1200">
          <a:solidFill>
            <a:schemeClr val="tx1"/>
          </a:solidFill>
          <a:latin typeface="+mn-lt"/>
          <a:ea typeface="+mn-ea"/>
          <a:cs typeface="+mn-cs"/>
        </a:defRPr>
      </a:lvl6pPr>
      <a:lvl7pPr marL="5046528" indent="-388187" algn="l" defTabSz="776390" rtl="0" eaLnBrk="1" latinLnBrk="0" hangingPunct="1">
        <a:spcBef>
          <a:spcPct val="20000"/>
        </a:spcBef>
        <a:buFont typeface="Arial"/>
        <a:buChar char="•"/>
        <a:defRPr sz="3400" kern="1200">
          <a:solidFill>
            <a:schemeClr val="tx1"/>
          </a:solidFill>
          <a:latin typeface="+mn-lt"/>
          <a:ea typeface="+mn-ea"/>
          <a:cs typeface="+mn-cs"/>
        </a:defRPr>
      </a:lvl7pPr>
      <a:lvl8pPr marL="5822921" indent="-388187" algn="l" defTabSz="776390" rtl="0" eaLnBrk="1" latinLnBrk="0" hangingPunct="1">
        <a:spcBef>
          <a:spcPct val="20000"/>
        </a:spcBef>
        <a:buFont typeface="Arial"/>
        <a:buChar char="•"/>
        <a:defRPr sz="3400" kern="1200">
          <a:solidFill>
            <a:schemeClr val="tx1"/>
          </a:solidFill>
          <a:latin typeface="+mn-lt"/>
          <a:ea typeface="+mn-ea"/>
          <a:cs typeface="+mn-cs"/>
        </a:defRPr>
      </a:lvl8pPr>
      <a:lvl9pPr marL="6599320" indent="-388187" algn="l" defTabSz="776390" rtl="0" eaLnBrk="1" latinLnBrk="0" hangingPunct="1">
        <a:spcBef>
          <a:spcPct val="20000"/>
        </a:spcBef>
        <a:buFont typeface="Arial"/>
        <a:buChar char="•"/>
        <a:defRPr sz="3400" kern="1200">
          <a:solidFill>
            <a:schemeClr val="tx1"/>
          </a:solidFill>
          <a:latin typeface="+mn-lt"/>
          <a:ea typeface="+mn-ea"/>
          <a:cs typeface="+mn-cs"/>
        </a:defRPr>
      </a:lvl9pPr>
    </p:bodyStyle>
    <p:otherStyle>
      <a:defPPr>
        <a:defRPr lang="en-US"/>
      </a:defPPr>
      <a:lvl1pPr marL="0" algn="l" defTabSz="776390" rtl="0" eaLnBrk="1" latinLnBrk="0" hangingPunct="1">
        <a:defRPr sz="3060" kern="1200">
          <a:solidFill>
            <a:schemeClr val="tx1"/>
          </a:solidFill>
          <a:latin typeface="+mn-lt"/>
          <a:ea typeface="+mn-ea"/>
          <a:cs typeface="+mn-cs"/>
        </a:defRPr>
      </a:lvl1pPr>
      <a:lvl2pPr marL="776390" algn="l" defTabSz="776390" rtl="0" eaLnBrk="1" latinLnBrk="0" hangingPunct="1">
        <a:defRPr sz="3060" kern="1200">
          <a:solidFill>
            <a:schemeClr val="tx1"/>
          </a:solidFill>
          <a:latin typeface="+mn-lt"/>
          <a:ea typeface="+mn-ea"/>
          <a:cs typeface="+mn-cs"/>
        </a:defRPr>
      </a:lvl2pPr>
      <a:lvl3pPr marL="1552786" algn="l" defTabSz="776390" rtl="0" eaLnBrk="1" latinLnBrk="0" hangingPunct="1">
        <a:defRPr sz="3060" kern="1200">
          <a:solidFill>
            <a:schemeClr val="tx1"/>
          </a:solidFill>
          <a:latin typeface="+mn-lt"/>
          <a:ea typeface="+mn-ea"/>
          <a:cs typeface="+mn-cs"/>
        </a:defRPr>
      </a:lvl3pPr>
      <a:lvl4pPr marL="2329181" algn="l" defTabSz="776390" rtl="0" eaLnBrk="1" latinLnBrk="0" hangingPunct="1">
        <a:defRPr sz="3060" kern="1200">
          <a:solidFill>
            <a:schemeClr val="tx1"/>
          </a:solidFill>
          <a:latin typeface="+mn-lt"/>
          <a:ea typeface="+mn-ea"/>
          <a:cs typeface="+mn-cs"/>
        </a:defRPr>
      </a:lvl4pPr>
      <a:lvl5pPr marL="3105573" algn="l" defTabSz="776390" rtl="0" eaLnBrk="1" latinLnBrk="0" hangingPunct="1">
        <a:defRPr sz="3060" kern="1200">
          <a:solidFill>
            <a:schemeClr val="tx1"/>
          </a:solidFill>
          <a:latin typeface="+mn-lt"/>
          <a:ea typeface="+mn-ea"/>
          <a:cs typeface="+mn-cs"/>
        </a:defRPr>
      </a:lvl5pPr>
      <a:lvl6pPr marL="3881956" algn="l" defTabSz="776390" rtl="0" eaLnBrk="1" latinLnBrk="0" hangingPunct="1">
        <a:defRPr sz="3060" kern="1200">
          <a:solidFill>
            <a:schemeClr val="tx1"/>
          </a:solidFill>
          <a:latin typeface="+mn-lt"/>
          <a:ea typeface="+mn-ea"/>
          <a:cs typeface="+mn-cs"/>
        </a:defRPr>
      </a:lvl6pPr>
      <a:lvl7pPr marL="4658343" algn="l" defTabSz="776390" rtl="0" eaLnBrk="1" latinLnBrk="0" hangingPunct="1">
        <a:defRPr sz="3060" kern="1200">
          <a:solidFill>
            <a:schemeClr val="tx1"/>
          </a:solidFill>
          <a:latin typeface="+mn-lt"/>
          <a:ea typeface="+mn-ea"/>
          <a:cs typeface="+mn-cs"/>
        </a:defRPr>
      </a:lvl7pPr>
      <a:lvl8pPr marL="5434728" algn="l" defTabSz="776390" rtl="0" eaLnBrk="1" latinLnBrk="0" hangingPunct="1">
        <a:defRPr sz="3060" kern="1200">
          <a:solidFill>
            <a:schemeClr val="tx1"/>
          </a:solidFill>
          <a:latin typeface="+mn-lt"/>
          <a:ea typeface="+mn-ea"/>
          <a:cs typeface="+mn-cs"/>
        </a:defRPr>
      </a:lvl8pPr>
      <a:lvl9pPr marL="6211140" algn="l" defTabSz="776390" rtl="0" eaLnBrk="1" latinLnBrk="0" hangingPunct="1">
        <a:defRPr sz="30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3"/>
            </p:custDataLst>
          </p:nvPr>
        </p:nvGraphicFramePr>
        <p:xfrm>
          <a:off x="3018" y="2330"/>
          <a:ext cx="3016" cy="2328"/>
        </p:xfrm>
        <a:graphic>
          <a:graphicData uri="http://schemas.openxmlformats.org/presentationml/2006/ole">
            <mc:AlternateContent xmlns:mc="http://schemas.openxmlformats.org/markup-compatibility/2006">
              <mc:Choice xmlns:v="urn:schemas-microsoft-com:vml" Requires="v">
                <p:oleObj name="think-cell Slide" r:id="rId14" imgW="360" imgH="360" progId="">
                  <p:embed/>
                </p:oleObj>
              </mc:Choice>
              <mc:Fallback>
                <p:oleObj name="think-cell Slide" r:id="rId14" imgW="360" imgH="360" progId="">
                  <p:embed/>
                  <p:pic>
                    <p:nvPicPr>
                      <p:cNvPr id="3" name="Object 2"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018" y="2330"/>
                        <a:ext cx="3016" cy="2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16" cstate="print">
            <a:extLst>
              <a:ext uri="{28A0092B-C50C-407E-A947-70E740481C1C}">
                <a14:useLocalDpi xmlns:a14="http://schemas.microsoft.com/office/drawing/2010/main" val="0"/>
              </a:ext>
            </a:extLst>
          </a:blip>
          <a:srcRect t="18516" r="11828"/>
          <a:stretch/>
        </p:blipFill>
        <p:spPr>
          <a:xfrm>
            <a:off x="0" y="729897"/>
            <a:ext cx="17350740" cy="9386183"/>
          </a:xfrm>
          <a:prstGeom prst="rect">
            <a:avLst/>
          </a:prstGeom>
        </p:spPr>
      </p:pic>
      <p:sp>
        <p:nvSpPr>
          <p:cNvPr id="9" name="Rectangle 8"/>
          <p:cNvSpPr/>
          <p:nvPr/>
        </p:nvSpPr>
        <p:spPr>
          <a:xfrm>
            <a:off x="0" y="9409161"/>
            <a:ext cx="17373600" cy="649243"/>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51" name="Title Placeholder 1"/>
          <p:cNvSpPr>
            <a:spLocks noGrp="1"/>
          </p:cNvSpPr>
          <p:nvPr>
            <p:ph type="title"/>
          </p:nvPr>
        </p:nvSpPr>
        <p:spPr bwMode="auto">
          <a:xfrm>
            <a:off x="868680" y="429158"/>
            <a:ext cx="15636240" cy="71059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a:t>Click to edit Master title style</a:t>
            </a:r>
            <a:endParaRPr lang="en-US" dirty="0"/>
          </a:p>
        </p:txBody>
      </p:sp>
      <p:sp>
        <p:nvSpPr>
          <p:cNvPr id="2052" name="Text Placeholder 2"/>
          <p:cNvSpPr>
            <a:spLocks noGrp="1"/>
          </p:cNvSpPr>
          <p:nvPr>
            <p:ph type="body" idx="1"/>
          </p:nvPr>
        </p:nvSpPr>
        <p:spPr bwMode="auto">
          <a:xfrm>
            <a:off x="868680" y="2011687"/>
            <a:ext cx="15636240" cy="697335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Text</a:t>
            </a:r>
            <a:endParaRPr lang="en-US" dirty="0"/>
          </a:p>
        </p:txBody>
      </p:sp>
      <p:sp>
        <p:nvSpPr>
          <p:cNvPr id="1030" name="Text Placeholder 10"/>
          <p:cNvSpPr txBox="1">
            <a:spLocks/>
          </p:cNvSpPr>
          <p:nvPr/>
        </p:nvSpPr>
        <p:spPr bwMode="auto">
          <a:xfrm>
            <a:off x="16246831" y="9307370"/>
            <a:ext cx="1307746" cy="808708"/>
          </a:xfrm>
          <a:prstGeom prst="rect">
            <a:avLst/>
          </a:prstGeom>
          <a:noFill/>
          <a:ln w="9525">
            <a:noFill/>
            <a:miter lim="800000"/>
            <a:headEnd/>
            <a:tailEnd/>
          </a:ln>
        </p:spPr>
        <p:txBody>
          <a:bodyPr lIns="133968" tIns="66986" rIns="402336" bIns="66986" anchor="ctr"/>
          <a:lstStyle/>
          <a:p>
            <a:pPr marL="500582" indent="-500582" algn="ctr" defTabSz="668219">
              <a:spcBef>
                <a:spcPct val="20000"/>
              </a:spcBef>
              <a:buFont typeface="Arial" pitchFamily="34" charset="0"/>
              <a:buNone/>
              <a:defRPr/>
            </a:pPr>
            <a:r>
              <a:rPr lang="en-US" sz="1320" dirty="0">
                <a:solidFill>
                  <a:schemeClr val="bg1">
                    <a:lumMod val="65000"/>
                  </a:schemeClr>
                </a:solidFill>
                <a:cs typeface="Arial" pitchFamily="34" charset="0"/>
                <a:sym typeface="Arial" pitchFamily="34" charset="0"/>
              </a:rPr>
              <a:t>  </a:t>
            </a:r>
            <a:fld id="{C1209FD9-C7F3-4875-AF7D-3292D13E6022}" type="slidenum">
              <a:rPr lang="en-US" sz="1320">
                <a:solidFill>
                  <a:srgbClr val="FFFFFF"/>
                </a:solidFill>
                <a:cs typeface="Arial" pitchFamily="34" charset="0"/>
                <a:sym typeface="Arial" pitchFamily="34" charset="0"/>
              </a:rPr>
              <a:pPr marL="500582" indent="-500582" algn="ctr" defTabSz="668219">
                <a:spcBef>
                  <a:spcPct val="20000"/>
                </a:spcBef>
                <a:buFont typeface="Arial" pitchFamily="34" charset="0"/>
                <a:buNone/>
                <a:defRPr/>
              </a:pPr>
              <a:t>‹#›</a:t>
            </a:fld>
            <a:endParaRPr lang="en-US" sz="1320" dirty="0">
              <a:solidFill>
                <a:srgbClr val="FFFFFF"/>
              </a:solidFill>
              <a:cs typeface="Arial" pitchFamily="34" charset="0"/>
              <a:sym typeface="Arial" pitchFamily="34" charset="0"/>
            </a:endParaRPr>
          </a:p>
        </p:txBody>
      </p:sp>
      <p:pic>
        <p:nvPicPr>
          <p:cNvPr id="12" name="Picture 11" descr="jnj_InformationTechnology_logo_horizontal_RGB_White.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33553" y="9452139"/>
            <a:ext cx="4928956" cy="548526"/>
          </a:xfrm>
          <a:prstGeom prst="rect">
            <a:avLst/>
          </a:prstGeom>
        </p:spPr>
      </p:pic>
    </p:spTree>
    <p:extLst>
      <p:ext uri="{BB962C8B-B14F-4D97-AF65-F5344CB8AC3E}">
        <p14:creationId xmlns:p14="http://schemas.microsoft.com/office/powerpoint/2010/main" val="4092798767"/>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668219" rtl="0" eaLnBrk="1" fontAlgn="base" hangingPunct="1">
        <a:spcBef>
          <a:spcPct val="0"/>
        </a:spcBef>
        <a:spcAft>
          <a:spcPct val="0"/>
        </a:spcAft>
        <a:defRPr sz="3520" kern="1200">
          <a:solidFill>
            <a:schemeClr val="accent5"/>
          </a:solidFill>
          <a:latin typeface="Arial" panose="020B0604020202020204" pitchFamily="34" charset="0"/>
          <a:ea typeface="MS PGothic" pitchFamily="34" charset="-128"/>
          <a:cs typeface="Arial" panose="020B0604020202020204" pitchFamily="34" charset="0"/>
        </a:defRPr>
      </a:lvl1pPr>
      <a:lvl2pPr algn="l" defTabSz="668219" rtl="0" eaLnBrk="1" fontAlgn="base" hangingPunct="1">
        <a:spcBef>
          <a:spcPct val="0"/>
        </a:spcBef>
        <a:spcAft>
          <a:spcPct val="0"/>
        </a:spcAft>
        <a:defRPr sz="4400">
          <a:solidFill>
            <a:schemeClr val="tx1"/>
          </a:solidFill>
          <a:latin typeface="Georgia" pitchFamily="34" charset="0"/>
          <a:ea typeface="MS PGothic" pitchFamily="34" charset="-128"/>
          <a:cs typeface="Georgia" pitchFamily="34" charset="0"/>
        </a:defRPr>
      </a:lvl2pPr>
      <a:lvl3pPr algn="l" defTabSz="668219" rtl="0" eaLnBrk="1" fontAlgn="base" hangingPunct="1">
        <a:spcBef>
          <a:spcPct val="0"/>
        </a:spcBef>
        <a:spcAft>
          <a:spcPct val="0"/>
        </a:spcAft>
        <a:defRPr sz="4400">
          <a:solidFill>
            <a:schemeClr val="tx1"/>
          </a:solidFill>
          <a:latin typeface="Georgia" pitchFamily="34" charset="0"/>
          <a:ea typeface="MS PGothic" pitchFamily="34" charset="-128"/>
          <a:cs typeface="Georgia" pitchFamily="34" charset="0"/>
        </a:defRPr>
      </a:lvl3pPr>
      <a:lvl4pPr algn="l" defTabSz="668219" rtl="0" eaLnBrk="1" fontAlgn="base" hangingPunct="1">
        <a:spcBef>
          <a:spcPct val="0"/>
        </a:spcBef>
        <a:spcAft>
          <a:spcPct val="0"/>
        </a:spcAft>
        <a:defRPr sz="4400">
          <a:solidFill>
            <a:schemeClr val="tx1"/>
          </a:solidFill>
          <a:latin typeface="Georgia" pitchFamily="34" charset="0"/>
          <a:ea typeface="MS PGothic" pitchFamily="34" charset="-128"/>
          <a:cs typeface="Georgia" pitchFamily="34" charset="0"/>
        </a:defRPr>
      </a:lvl4pPr>
      <a:lvl5pPr algn="l" defTabSz="668219" rtl="0" eaLnBrk="1" fontAlgn="base" hangingPunct="1">
        <a:spcBef>
          <a:spcPct val="0"/>
        </a:spcBef>
        <a:spcAft>
          <a:spcPct val="0"/>
        </a:spcAft>
        <a:defRPr sz="4400">
          <a:solidFill>
            <a:schemeClr val="tx1"/>
          </a:solidFill>
          <a:latin typeface="Georgia" pitchFamily="34" charset="0"/>
          <a:ea typeface="MS PGothic" pitchFamily="34" charset="-128"/>
          <a:cs typeface="Georgia" pitchFamily="34" charset="0"/>
        </a:defRPr>
      </a:lvl5pPr>
      <a:lvl6pPr marL="669842" algn="l" defTabSz="669842" rtl="0" eaLnBrk="1" fontAlgn="base" hangingPunct="1">
        <a:spcBef>
          <a:spcPct val="0"/>
        </a:spcBef>
        <a:spcAft>
          <a:spcPct val="0"/>
        </a:spcAft>
        <a:defRPr sz="4400">
          <a:solidFill>
            <a:schemeClr val="tx1"/>
          </a:solidFill>
          <a:latin typeface="Georgia" pitchFamily="34" charset="0"/>
          <a:ea typeface="ＭＳ Ｐゴシック" pitchFamily="34" charset="-128"/>
        </a:defRPr>
      </a:lvl6pPr>
      <a:lvl7pPr marL="1339689" algn="l" defTabSz="669842" rtl="0" eaLnBrk="1" fontAlgn="base" hangingPunct="1">
        <a:spcBef>
          <a:spcPct val="0"/>
        </a:spcBef>
        <a:spcAft>
          <a:spcPct val="0"/>
        </a:spcAft>
        <a:defRPr sz="4400">
          <a:solidFill>
            <a:schemeClr val="tx1"/>
          </a:solidFill>
          <a:latin typeface="Georgia" pitchFamily="34" charset="0"/>
          <a:ea typeface="ＭＳ Ｐゴシック" pitchFamily="34" charset="-128"/>
        </a:defRPr>
      </a:lvl7pPr>
      <a:lvl8pPr marL="2009535" algn="l" defTabSz="669842" rtl="0" eaLnBrk="1" fontAlgn="base" hangingPunct="1">
        <a:spcBef>
          <a:spcPct val="0"/>
        </a:spcBef>
        <a:spcAft>
          <a:spcPct val="0"/>
        </a:spcAft>
        <a:defRPr sz="4400">
          <a:solidFill>
            <a:schemeClr val="tx1"/>
          </a:solidFill>
          <a:latin typeface="Georgia" pitchFamily="34" charset="0"/>
          <a:ea typeface="ＭＳ Ｐゴシック" pitchFamily="34" charset="-128"/>
        </a:defRPr>
      </a:lvl8pPr>
      <a:lvl9pPr marL="2679380" algn="l" defTabSz="669842" rtl="0" eaLnBrk="1" fontAlgn="base" hangingPunct="1">
        <a:spcBef>
          <a:spcPct val="0"/>
        </a:spcBef>
        <a:spcAft>
          <a:spcPct val="0"/>
        </a:spcAft>
        <a:defRPr sz="4400">
          <a:solidFill>
            <a:schemeClr val="tx1"/>
          </a:solidFill>
          <a:latin typeface="Georgia" pitchFamily="34" charset="0"/>
          <a:ea typeface="ＭＳ Ｐゴシック" pitchFamily="34" charset="-128"/>
        </a:defRPr>
      </a:lvl9pPr>
    </p:titleStyle>
    <p:bodyStyle>
      <a:lvl1pPr marL="302676" indent="-302676" algn="l" defTabSz="668219" rtl="0" eaLnBrk="1" fontAlgn="base" hangingPunct="1">
        <a:spcBef>
          <a:spcPts val="0"/>
        </a:spcBef>
        <a:spcAft>
          <a:spcPts val="880"/>
        </a:spcAft>
        <a:buClr>
          <a:schemeClr val="tx1">
            <a:lumMod val="65000"/>
            <a:lumOff val="35000"/>
          </a:schemeClr>
        </a:buClr>
        <a:buSzPct val="120000"/>
        <a:buFont typeface="Arial" pitchFamily="34" charset="0"/>
        <a:buChar char="•"/>
        <a:defRPr sz="1467" kern="1200">
          <a:solidFill>
            <a:schemeClr val="accent3"/>
          </a:solidFill>
          <a:latin typeface="Georgia" panose="02040502050405020303" pitchFamily="18" charset="0"/>
          <a:ea typeface="MS PGothic" pitchFamily="34" charset="-128"/>
          <a:cs typeface="Arial"/>
        </a:defRPr>
      </a:lvl1pPr>
      <a:lvl2pPr marL="670545" indent="-214202" algn="l" defTabSz="668219" rtl="0" eaLnBrk="1" fontAlgn="base" hangingPunct="1">
        <a:spcBef>
          <a:spcPts val="0"/>
        </a:spcBef>
        <a:spcAft>
          <a:spcPts val="880"/>
        </a:spcAft>
        <a:buClr>
          <a:schemeClr val="tx1">
            <a:lumMod val="65000"/>
            <a:lumOff val="35000"/>
          </a:schemeClr>
        </a:buClr>
        <a:buFont typeface="Arial" pitchFamily="34" charset="0"/>
        <a:buChar char="–"/>
        <a:defRPr sz="1467" kern="1200">
          <a:solidFill>
            <a:schemeClr val="accent3"/>
          </a:solidFill>
          <a:latin typeface="Georgia" panose="02040502050405020303" pitchFamily="18" charset="0"/>
          <a:ea typeface="MS PGothic" pitchFamily="34" charset="-128"/>
          <a:cs typeface="Arial"/>
        </a:defRPr>
      </a:lvl2pPr>
      <a:lvl3pPr marL="1338764" indent="-344586" algn="l" defTabSz="668219" rtl="0" eaLnBrk="1" fontAlgn="base" hangingPunct="1">
        <a:spcBef>
          <a:spcPts val="0"/>
        </a:spcBef>
        <a:spcAft>
          <a:spcPts val="880"/>
        </a:spcAft>
        <a:buClr>
          <a:schemeClr val="tx1">
            <a:lumMod val="65000"/>
            <a:lumOff val="35000"/>
          </a:schemeClr>
        </a:buClr>
        <a:buFont typeface="Arial" pitchFamily="34" charset="0"/>
        <a:buChar char="•"/>
        <a:defRPr sz="1467" kern="1200">
          <a:solidFill>
            <a:schemeClr val="accent3"/>
          </a:solidFill>
          <a:latin typeface="Georgia" panose="02040502050405020303" pitchFamily="18" charset="0"/>
          <a:ea typeface="MS PGothic" pitchFamily="34" charset="-128"/>
          <a:cs typeface="Arial"/>
        </a:defRPr>
      </a:lvl3pPr>
      <a:lvl4pPr marL="1739229" indent="-344586" algn="l" defTabSz="668219" rtl="0" eaLnBrk="1" fontAlgn="base" hangingPunct="1">
        <a:spcBef>
          <a:spcPts val="0"/>
        </a:spcBef>
        <a:spcAft>
          <a:spcPts val="880"/>
        </a:spcAft>
        <a:buClr>
          <a:schemeClr val="tx1">
            <a:lumMod val="65000"/>
            <a:lumOff val="35000"/>
          </a:schemeClr>
        </a:buClr>
        <a:buFont typeface="Arial" pitchFamily="34" charset="0"/>
        <a:buChar char="–"/>
        <a:defRPr sz="1467" kern="1200">
          <a:solidFill>
            <a:schemeClr val="accent3"/>
          </a:solidFill>
          <a:latin typeface="Georgia" panose="02040502050405020303" pitchFamily="18" charset="0"/>
          <a:ea typeface="MS PGothic" pitchFamily="34" charset="-128"/>
          <a:cs typeface="Arial"/>
        </a:defRPr>
      </a:lvl4pPr>
      <a:lvl5pPr marL="2142020" indent="-344586" algn="l" defTabSz="668219" rtl="0" eaLnBrk="1" fontAlgn="base" hangingPunct="1">
        <a:spcBef>
          <a:spcPts val="0"/>
        </a:spcBef>
        <a:spcAft>
          <a:spcPts val="880"/>
        </a:spcAft>
        <a:buClr>
          <a:schemeClr val="tx1">
            <a:lumMod val="65000"/>
            <a:lumOff val="35000"/>
          </a:schemeClr>
        </a:buClr>
        <a:buFont typeface="Arial" pitchFamily="34" charset="0"/>
        <a:buChar char="»"/>
        <a:defRPr sz="1467" kern="1200">
          <a:solidFill>
            <a:schemeClr val="accent3"/>
          </a:solidFill>
          <a:latin typeface="Georgia" panose="02040502050405020303" pitchFamily="18" charset="0"/>
          <a:ea typeface="MS PGothic" pitchFamily="34" charset="-128"/>
          <a:cs typeface="Arial"/>
        </a:defRPr>
      </a:lvl5pPr>
      <a:lvl6pPr marL="3684120" indent="-334913" algn="l" defTabSz="669842" rtl="0" eaLnBrk="1" latinLnBrk="0" hangingPunct="1">
        <a:spcBef>
          <a:spcPct val="20000"/>
        </a:spcBef>
        <a:buFont typeface="Arial"/>
        <a:buChar char="•"/>
        <a:defRPr sz="2933" kern="1200">
          <a:solidFill>
            <a:schemeClr val="tx1"/>
          </a:solidFill>
          <a:latin typeface="+mn-lt"/>
          <a:ea typeface="+mn-ea"/>
          <a:cs typeface="+mn-cs"/>
        </a:defRPr>
      </a:lvl6pPr>
      <a:lvl7pPr marL="4353966" indent="-334913" algn="l" defTabSz="669842" rtl="0" eaLnBrk="1" latinLnBrk="0" hangingPunct="1">
        <a:spcBef>
          <a:spcPct val="20000"/>
        </a:spcBef>
        <a:buFont typeface="Arial"/>
        <a:buChar char="•"/>
        <a:defRPr sz="2933" kern="1200">
          <a:solidFill>
            <a:schemeClr val="tx1"/>
          </a:solidFill>
          <a:latin typeface="+mn-lt"/>
          <a:ea typeface="+mn-ea"/>
          <a:cs typeface="+mn-cs"/>
        </a:defRPr>
      </a:lvl7pPr>
      <a:lvl8pPr marL="5023811" indent="-334913" algn="l" defTabSz="669842" rtl="0" eaLnBrk="1" latinLnBrk="0" hangingPunct="1">
        <a:spcBef>
          <a:spcPct val="20000"/>
        </a:spcBef>
        <a:buFont typeface="Arial"/>
        <a:buChar char="•"/>
        <a:defRPr sz="2933" kern="1200">
          <a:solidFill>
            <a:schemeClr val="tx1"/>
          </a:solidFill>
          <a:latin typeface="+mn-lt"/>
          <a:ea typeface="+mn-ea"/>
          <a:cs typeface="+mn-cs"/>
        </a:defRPr>
      </a:lvl8pPr>
      <a:lvl9pPr marL="5693659" indent="-334913" algn="l" defTabSz="669842" rtl="0" eaLnBrk="1" latinLnBrk="0" hangingPunct="1">
        <a:spcBef>
          <a:spcPct val="20000"/>
        </a:spcBef>
        <a:buFont typeface="Arial"/>
        <a:buChar char="•"/>
        <a:defRPr sz="2933" kern="1200">
          <a:solidFill>
            <a:schemeClr val="tx1"/>
          </a:solidFill>
          <a:latin typeface="+mn-lt"/>
          <a:ea typeface="+mn-ea"/>
          <a:cs typeface="+mn-cs"/>
        </a:defRPr>
      </a:lvl9pPr>
    </p:bodyStyle>
    <p:otherStyle>
      <a:defPPr>
        <a:defRPr lang="en-US"/>
      </a:defPPr>
      <a:lvl1pPr marL="0" algn="l" defTabSz="669842" rtl="0" eaLnBrk="1" latinLnBrk="0" hangingPunct="1">
        <a:defRPr sz="2640" kern="1200">
          <a:solidFill>
            <a:schemeClr val="tx1"/>
          </a:solidFill>
          <a:latin typeface="+mn-lt"/>
          <a:ea typeface="+mn-ea"/>
          <a:cs typeface="+mn-cs"/>
        </a:defRPr>
      </a:lvl1pPr>
      <a:lvl2pPr marL="669842" algn="l" defTabSz="669842" rtl="0" eaLnBrk="1" latinLnBrk="0" hangingPunct="1">
        <a:defRPr sz="2640" kern="1200">
          <a:solidFill>
            <a:schemeClr val="tx1"/>
          </a:solidFill>
          <a:latin typeface="+mn-lt"/>
          <a:ea typeface="+mn-ea"/>
          <a:cs typeface="+mn-cs"/>
        </a:defRPr>
      </a:lvl2pPr>
      <a:lvl3pPr marL="1339689" algn="l" defTabSz="669842" rtl="0" eaLnBrk="1" latinLnBrk="0" hangingPunct="1">
        <a:defRPr sz="2640" kern="1200">
          <a:solidFill>
            <a:schemeClr val="tx1"/>
          </a:solidFill>
          <a:latin typeface="+mn-lt"/>
          <a:ea typeface="+mn-ea"/>
          <a:cs typeface="+mn-cs"/>
        </a:defRPr>
      </a:lvl3pPr>
      <a:lvl4pPr marL="2009535" algn="l" defTabSz="669842" rtl="0" eaLnBrk="1" latinLnBrk="0" hangingPunct="1">
        <a:defRPr sz="2640" kern="1200">
          <a:solidFill>
            <a:schemeClr val="tx1"/>
          </a:solidFill>
          <a:latin typeface="+mn-lt"/>
          <a:ea typeface="+mn-ea"/>
          <a:cs typeface="+mn-cs"/>
        </a:defRPr>
      </a:lvl4pPr>
      <a:lvl5pPr marL="2679380" algn="l" defTabSz="669842" rtl="0" eaLnBrk="1" latinLnBrk="0" hangingPunct="1">
        <a:defRPr sz="2640" kern="1200">
          <a:solidFill>
            <a:schemeClr val="tx1"/>
          </a:solidFill>
          <a:latin typeface="+mn-lt"/>
          <a:ea typeface="+mn-ea"/>
          <a:cs typeface="+mn-cs"/>
        </a:defRPr>
      </a:lvl5pPr>
      <a:lvl6pPr marL="3349214" algn="l" defTabSz="669842" rtl="0" eaLnBrk="1" latinLnBrk="0" hangingPunct="1">
        <a:defRPr sz="2640" kern="1200">
          <a:solidFill>
            <a:schemeClr val="tx1"/>
          </a:solidFill>
          <a:latin typeface="+mn-lt"/>
          <a:ea typeface="+mn-ea"/>
          <a:cs typeface="+mn-cs"/>
        </a:defRPr>
      </a:lvl6pPr>
      <a:lvl7pPr marL="4019055" algn="l" defTabSz="669842" rtl="0" eaLnBrk="1" latinLnBrk="0" hangingPunct="1">
        <a:defRPr sz="2640" kern="1200">
          <a:solidFill>
            <a:schemeClr val="tx1"/>
          </a:solidFill>
          <a:latin typeface="+mn-lt"/>
          <a:ea typeface="+mn-ea"/>
          <a:cs typeface="+mn-cs"/>
        </a:defRPr>
      </a:lvl7pPr>
      <a:lvl8pPr marL="4688892" algn="l" defTabSz="669842" rtl="0" eaLnBrk="1" latinLnBrk="0" hangingPunct="1">
        <a:defRPr sz="2640" kern="1200">
          <a:solidFill>
            <a:schemeClr val="tx1"/>
          </a:solidFill>
          <a:latin typeface="+mn-lt"/>
          <a:ea typeface="+mn-ea"/>
          <a:cs typeface="+mn-cs"/>
        </a:defRPr>
      </a:lvl8pPr>
      <a:lvl9pPr marL="5358752" algn="l" defTabSz="669842" rtl="0" eaLnBrk="1" latinLnBrk="0" hangingPunct="1">
        <a:defRPr sz="264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hyperlink" Target="https://confluence.jnj.com/display/VABI/RPA+Operations+Service+Requests#RPAOperationsServiceRequests-OnDemandProcessRuns" TargetMode="External"/><Relationship Id="rId7" Type="http://schemas.openxmlformats.org/officeDocument/2006/relationships/hyperlink" Target="https://jnjprod.service-now.com/iris" TargetMode="External"/><Relationship Id="rId2" Type="http://schemas.openxmlformats.org/officeDocument/2006/relationships/hyperlink" Target="https://confluence.jnj.com/display/VABI/RPA+Operations+Service+Requests#RPAOperationsServiceRequests-Create/Modify/RetireSchedules" TargetMode="External"/><Relationship Id="rId1" Type="http://schemas.openxmlformats.org/officeDocument/2006/relationships/slideLayout" Target="../slideLayouts/slideLayout6.xml"/><Relationship Id="rId6" Type="http://schemas.openxmlformats.org/officeDocument/2006/relationships/hyperlink" Target="https://confluence.jnj.com/display/VABI/RPA+Operations+Service+Requests" TargetMode="External"/><Relationship Id="rId5" Type="http://schemas.openxmlformats.org/officeDocument/2006/relationships/hyperlink" Target="https://confluence.jnj.com/display/VABI/RPA+Operations+Service+Requests#RPAOperationsServiceRequests-VirtualIdentityPasswordReset" TargetMode="External"/><Relationship Id="rId4" Type="http://schemas.openxmlformats.org/officeDocument/2006/relationships/hyperlink" Target="https://confluence.jnj.com/display/VABI/RPA+Operations+Service+Requests#RPAOperationsServiceRequests-Create/Modify/RetireCredentials"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confluence.jnj.com/pages/viewpage.action?pageId=145239177" TargetMode="External"/><Relationship Id="rId2" Type="http://schemas.openxmlformats.org/officeDocument/2006/relationships/hyperlink" Target="https://jnjprod.service-now.com/iris?id=irisgl_cat_item&amp;sys_id=45c1ff5cdbb50b44a0737a8eaf961960" TargetMode="External"/><Relationship Id="rId1" Type="http://schemas.openxmlformats.org/officeDocument/2006/relationships/slideLayout" Target="../slideLayouts/slideLayout6.xml"/><Relationship Id="rId5" Type="http://schemas.openxmlformats.org/officeDocument/2006/relationships/slide" Target="slide7.xml"/><Relationship Id="rId4" Type="http://schemas.openxmlformats.org/officeDocument/2006/relationships/hyperlink" Target="https://confluence.jnj.com/display/VABI/Automation+Details"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jira.jnj.com/secure/RapidBoard.jspa?rapidView=23009&amp;projectKey=ADWC&amp;view=detail&amp;selectedIssue=ADWC-1318" TargetMode="External"/><Relationship Id="rId2" Type="http://schemas.openxmlformats.org/officeDocument/2006/relationships/hyperlink" Target="https://confluence.jnj.com/pages/viewpage.action?pageId=145239179" TargetMode="External"/><Relationship Id="rId1" Type="http://schemas.openxmlformats.org/officeDocument/2006/relationships/slideLayout" Target="../slideLayouts/slideLayout6.xml"/><Relationship Id="rId4" Type="http://schemas.openxmlformats.org/officeDocument/2006/relationships/hyperlink" Target="mailto:AWhitten@its.jnj.com"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1.GIF"/><Relationship Id="rId2" Type="http://schemas.openxmlformats.org/officeDocument/2006/relationships/image" Target="../media/image20.png"/><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svg"/><Relationship Id="rId7" Type="http://schemas.openxmlformats.org/officeDocument/2006/relationships/image" Target="../media/image28.svg"/><Relationship Id="rId2" Type="http://schemas.openxmlformats.org/officeDocument/2006/relationships/image" Target="../media/image23.png"/><Relationship Id="rId1" Type="http://schemas.openxmlformats.org/officeDocument/2006/relationships/slideLayout" Target="../slideLayouts/slideLayout6.xml"/><Relationship Id="rId6" Type="http://schemas.openxmlformats.org/officeDocument/2006/relationships/image" Target="../media/image27.png"/><Relationship Id="rId5" Type="http://schemas.openxmlformats.org/officeDocument/2006/relationships/image" Target="../media/image26.svg"/><Relationship Id="rId10" Type="http://schemas.openxmlformats.org/officeDocument/2006/relationships/hyperlink" Target="https://confluence.jnj.com/download/attachments/147359266/RPA%20Ops%20Cost%20Template.xlsx?version=1&amp;modificationDate=1565377033971&amp;api=v2" TargetMode="External"/><Relationship Id="rId4" Type="http://schemas.openxmlformats.org/officeDocument/2006/relationships/image" Target="../media/image25.png"/><Relationship Id="rId9" Type="http://schemas.openxmlformats.org/officeDocument/2006/relationships/image" Target="../media/image30.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2B0CF0B-95C3-4594-8EA6-F0D43FB54464}"/>
              </a:ext>
            </a:extLst>
          </p:cNvPr>
          <p:cNvPicPr>
            <a:picLocks noChangeAspect="1"/>
          </p:cNvPicPr>
          <p:nvPr/>
        </p:nvPicPr>
        <p:blipFill rotWithShape="1">
          <a:blip r:embed="rId2">
            <a:lum bright="70000" contrast="-70000"/>
          </a:blip>
          <a:srcRect l="2872" t="25885" r="36722" b="15449"/>
          <a:stretch/>
        </p:blipFill>
        <p:spPr>
          <a:xfrm>
            <a:off x="-254017" y="99768"/>
            <a:ext cx="17881600" cy="9307287"/>
          </a:xfrm>
          <a:prstGeom prst="rect">
            <a:avLst/>
          </a:prstGeom>
        </p:spPr>
      </p:pic>
      <p:sp>
        <p:nvSpPr>
          <p:cNvPr id="2" name="Text Placeholder 1">
            <a:extLst>
              <a:ext uri="{FF2B5EF4-FFF2-40B4-BE49-F238E27FC236}">
                <a16:creationId xmlns:a16="http://schemas.microsoft.com/office/drawing/2014/main" id="{F2106816-2A10-4893-8DFA-02C0D5C9BF01}"/>
              </a:ext>
            </a:extLst>
          </p:cNvPr>
          <p:cNvSpPr>
            <a:spLocks noGrp="1"/>
          </p:cNvSpPr>
          <p:nvPr>
            <p:ph type="body" sz="quarter" idx="10"/>
          </p:nvPr>
        </p:nvSpPr>
        <p:spPr/>
        <p:txBody>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dirty="0"/>
              <a:t>Robotics Process Automation</a:t>
            </a:r>
          </a:p>
        </p:txBody>
      </p:sp>
      <p:sp>
        <p:nvSpPr>
          <p:cNvPr id="3" name="Text Placeholder 2">
            <a:extLst>
              <a:ext uri="{FF2B5EF4-FFF2-40B4-BE49-F238E27FC236}">
                <a16:creationId xmlns:a16="http://schemas.microsoft.com/office/drawing/2014/main" id="{D898DE33-C5EF-478B-98A1-C3F8DDC7E299}"/>
              </a:ext>
            </a:extLst>
          </p:cNvPr>
          <p:cNvSpPr>
            <a:spLocks noGrp="1"/>
          </p:cNvSpPr>
          <p:nvPr>
            <p:ph type="body" sz="quarter" idx="11"/>
          </p:nvPr>
        </p:nvSpPr>
        <p:spPr/>
        <p:txBody>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dirty="0"/>
              <a:t>Operations Model</a:t>
            </a:r>
          </a:p>
        </p:txBody>
      </p:sp>
      <p:sp>
        <p:nvSpPr>
          <p:cNvPr id="4" name="Text Placeholder 3">
            <a:extLst>
              <a:ext uri="{FF2B5EF4-FFF2-40B4-BE49-F238E27FC236}">
                <a16:creationId xmlns:a16="http://schemas.microsoft.com/office/drawing/2014/main" id="{79479708-80CF-4BF0-8C57-4F2E32027F28}"/>
              </a:ext>
            </a:extLst>
          </p:cNvPr>
          <p:cNvSpPr>
            <a:spLocks noGrp="1"/>
          </p:cNvSpPr>
          <p:nvPr>
            <p:ph type="body" sz="quarter" idx="12"/>
          </p:nvPr>
        </p:nvSpPr>
        <p:spPr/>
        <p:txBody>
          <a:bodyPr>
            <a:normAutofit fontScale="62500" lnSpcReduction="20000"/>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dirty="0"/>
              <a:t>September 20</a:t>
            </a:r>
            <a:r>
              <a:rPr lang="en-US" baseline="30000" dirty="0"/>
              <a:t>th</a:t>
            </a:r>
            <a:r>
              <a:rPr lang="en-US" dirty="0"/>
              <a:t>   2019</a:t>
            </a:r>
          </a:p>
        </p:txBody>
      </p:sp>
    </p:spTree>
    <p:extLst>
      <p:ext uri="{BB962C8B-B14F-4D97-AF65-F5344CB8AC3E}">
        <p14:creationId xmlns:p14="http://schemas.microsoft.com/office/powerpoint/2010/main" val="241227215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B3BD7-7CA0-4A53-A8A6-522C56444758}"/>
              </a:ext>
            </a:extLst>
          </p:cNvPr>
          <p:cNvSpPr>
            <a:spLocks noGrp="1"/>
          </p:cNvSpPr>
          <p:nvPr>
            <p:ph type="title"/>
          </p:nvPr>
        </p:nvSpPr>
        <p:spPr>
          <a:xfrm>
            <a:off x="640080" y="370309"/>
            <a:ext cx="16093440" cy="782320"/>
          </a:xfrm>
        </p:spPr>
        <p:txBody>
          <a:bodyPr>
            <a:normAutofit fontScale="90000"/>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pPr algn="ctr"/>
            <a:r>
              <a:rPr lang="en-US" dirty="0">
                <a:solidFill>
                  <a:schemeClr val="bg1">
                    <a:lumMod val="50000"/>
                  </a:schemeClr>
                </a:solidFill>
              </a:rPr>
              <a:t>Key Points of Contact</a:t>
            </a:r>
            <a:endParaRPr lang="en-US" dirty="0">
              <a:solidFill>
                <a:schemeClr val="bg1">
                  <a:lumMod val="50000"/>
                </a:schemeClr>
              </a:solidFill>
              <a:latin typeface="+mn-lt"/>
            </a:endParaRPr>
          </a:p>
        </p:txBody>
      </p:sp>
      <p:graphicFrame>
        <p:nvGraphicFramePr>
          <p:cNvPr id="7" name="Table 6">
            <a:extLst>
              <a:ext uri="{FF2B5EF4-FFF2-40B4-BE49-F238E27FC236}">
                <a16:creationId xmlns:a16="http://schemas.microsoft.com/office/drawing/2014/main" id="{4E9111F2-7E82-4B57-B5CB-1D1F787E04E5}"/>
              </a:ext>
            </a:extLst>
          </p:cNvPr>
          <p:cNvGraphicFramePr>
            <a:graphicFrameLocks noGrp="1"/>
          </p:cNvGraphicFramePr>
          <p:nvPr>
            <p:extLst>
              <p:ext uri="{D42A27DB-BD31-4B8C-83A1-F6EECF244321}">
                <p14:modId xmlns:p14="http://schemas.microsoft.com/office/powerpoint/2010/main" val="829755131"/>
              </p:ext>
            </p:extLst>
          </p:nvPr>
        </p:nvGraphicFramePr>
        <p:xfrm>
          <a:off x="640082" y="1452883"/>
          <a:ext cx="16656941" cy="7650177"/>
        </p:xfrm>
        <a:graphic>
          <a:graphicData uri="http://schemas.openxmlformats.org/drawingml/2006/table">
            <a:tbl>
              <a:tblPr firstRow="1" bandRow="1">
                <a:tableStyleId>{5C22544A-7EE6-4342-B048-85BDC9FD1C3A}</a:tableStyleId>
              </a:tblPr>
              <a:tblGrid>
                <a:gridCol w="3186601">
                  <a:extLst>
                    <a:ext uri="{9D8B030D-6E8A-4147-A177-3AD203B41FA5}">
                      <a16:colId xmlns:a16="http://schemas.microsoft.com/office/drawing/2014/main" val="744423178"/>
                    </a:ext>
                  </a:extLst>
                </a:gridCol>
                <a:gridCol w="5513694">
                  <a:extLst>
                    <a:ext uri="{9D8B030D-6E8A-4147-A177-3AD203B41FA5}">
                      <a16:colId xmlns:a16="http://schemas.microsoft.com/office/drawing/2014/main" val="3734540832"/>
                    </a:ext>
                  </a:extLst>
                </a:gridCol>
                <a:gridCol w="7956646">
                  <a:extLst>
                    <a:ext uri="{9D8B030D-6E8A-4147-A177-3AD203B41FA5}">
                      <a16:colId xmlns:a16="http://schemas.microsoft.com/office/drawing/2014/main" val="2903786667"/>
                    </a:ext>
                  </a:extLst>
                </a:gridCol>
              </a:tblGrid>
              <a:tr h="451105">
                <a:tc>
                  <a:txBody>
                    <a:bodyPr/>
                    <a:lstStyle/>
                    <a:p>
                      <a:r>
                        <a:rPr lang="en-US" sz="1800" dirty="0">
                          <a:solidFill>
                            <a:schemeClr val="tx1"/>
                          </a:solidFill>
                        </a:rPr>
                        <a:t>Grou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r>
                        <a:rPr lang="en-US" sz="1800" dirty="0">
                          <a:solidFill>
                            <a:schemeClr val="tx1"/>
                          </a:solidFill>
                        </a:rPr>
                        <a:t>Ro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lang="en-US" sz="1800" dirty="0">
                          <a:solidFill>
                            <a:schemeClr val="tx1"/>
                          </a:solidFill>
                        </a:rPr>
                        <a:t>Nam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573404124"/>
                  </a:ext>
                </a:extLst>
              </a:tr>
              <a:tr h="899884">
                <a:tc rowSpan="2">
                  <a:txBody>
                    <a:bodyPr/>
                    <a:lstStyle/>
                    <a:p>
                      <a:r>
                        <a:rPr lang="en-US" sz="1800" dirty="0">
                          <a:solidFill>
                            <a:schemeClr val="tx1"/>
                          </a:solidFill>
                        </a:rPr>
                        <a:t>Business Process Own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solidFill>
                            <a:schemeClr val="tx1"/>
                          </a:solidFill>
                        </a:rPr>
                        <a:t>Business Process Own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512592"/>
                  </a:ext>
                </a:extLst>
              </a:tr>
              <a:tr h="899884">
                <a:tc vMerge="1">
                  <a:txBody>
                    <a:bodyPr/>
                    <a:lstStyle/>
                    <a:p>
                      <a:endParaRPr 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i="0" dirty="0">
                          <a:solidFill>
                            <a:schemeClr val="tx1"/>
                          </a:solidFill>
                        </a:rPr>
                        <a:t>Primary Point of Conta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0220688"/>
                  </a:ext>
                </a:extLst>
              </a:tr>
              <a:tr h="899884">
                <a:tc rowSpan="2">
                  <a:txBody>
                    <a:bodyPr/>
                    <a:lstStyle/>
                    <a:p>
                      <a:r>
                        <a:rPr lang="en-US" sz="1800" dirty="0">
                          <a:solidFill>
                            <a:schemeClr val="tx1"/>
                          </a:solidFill>
                        </a:rPr>
                        <a:t>JJT Business Technolog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solidFill>
                            <a:schemeClr val="tx1"/>
                          </a:solidFill>
                        </a:rPr>
                        <a:t>Automation Own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8722362"/>
                  </a:ext>
                </a:extLst>
              </a:tr>
              <a:tr h="899884">
                <a:tc vMerge="1">
                  <a:txBody>
                    <a:bodyPr/>
                    <a:lstStyle/>
                    <a:p>
                      <a:endParaRPr 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solidFill>
                            <a:schemeClr val="tx1"/>
                          </a:solidFill>
                        </a:rPr>
                        <a:t>Business App Owner – </a:t>
                      </a:r>
                      <a:r>
                        <a:rPr lang="en-US" sz="1800" i="1" dirty="0">
                          <a:solidFill>
                            <a:schemeClr val="tx1"/>
                          </a:solidFill>
                        </a:rPr>
                        <a:t>App Na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33909954"/>
                  </a:ext>
                </a:extLst>
              </a:tr>
              <a:tr h="899884">
                <a:tc rowSpan="2">
                  <a:txBody>
                    <a:bodyPr/>
                    <a:lstStyle/>
                    <a:p>
                      <a:r>
                        <a:rPr lang="en-US" sz="1800" dirty="0">
                          <a:solidFill>
                            <a:schemeClr val="tx1"/>
                          </a:solidFill>
                        </a:rPr>
                        <a:t>JJTS RPA Platfor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solidFill>
                            <a:schemeClr val="tx1"/>
                          </a:solidFill>
                        </a:rPr>
                        <a:t>Platform Admi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solidFill>
                            <a:schemeClr val="tx1"/>
                          </a:solidFill>
                        </a:rPr>
                        <a:t>Jerry L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2155308"/>
                  </a:ext>
                </a:extLst>
              </a:tr>
              <a:tr h="899884">
                <a:tc vMerge="1">
                  <a:txBody>
                    <a:bodyPr/>
                    <a:lstStyle/>
                    <a:p>
                      <a:endParaRPr 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solidFill>
                            <a:schemeClr val="tx1"/>
                          </a:solidFill>
                        </a:rPr>
                        <a:t>Control Room Admi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solidFill>
                            <a:schemeClr val="tx1"/>
                          </a:solidFill>
                        </a:rPr>
                        <a:t>Bhagavath Raam Sin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23504660"/>
                  </a:ext>
                </a:extLst>
              </a:tr>
              <a:tr h="899884">
                <a:tc rowSpan="2">
                  <a:txBody>
                    <a:bodyPr/>
                    <a:lstStyle/>
                    <a:p>
                      <a:r>
                        <a:rPr lang="en-US" sz="1800" dirty="0">
                          <a:solidFill>
                            <a:schemeClr val="tx1"/>
                          </a:solidFill>
                        </a:rPr>
                        <a:t>JJTS RPA Oper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solidFill>
                            <a:schemeClr val="tx1"/>
                          </a:solidFill>
                        </a:rPr>
                        <a:t>Lead Oper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solidFill>
                            <a:schemeClr val="tx1"/>
                          </a:solidFill>
                        </a:rPr>
                        <a:t>Serban Satruc, Piyush Patnai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7465001"/>
                  </a:ext>
                </a:extLst>
              </a:tr>
              <a:tr h="899884">
                <a:tc vMerge="1">
                  <a:txBody>
                    <a:bodyPr/>
                    <a:lstStyle/>
                    <a:p>
                      <a:endParaRPr 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solidFill>
                            <a:schemeClr val="tx1"/>
                          </a:solidFill>
                        </a:rPr>
                        <a:t>Lead Support Engine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5801034"/>
                  </a:ext>
                </a:extLst>
              </a:tr>
            </a:tbl>
          </a:graphicData>
        </a:graphic>
      </p:graphicFrame>
    </p:spTree>
    <p:extLst>
      <p:ext uri="{BB962C8B-B14F-4D97-AF65-F5344CB8AC3E}">
        <p14:creationId xmlns:p14="http://schemas.microsoft.com/office/powerpoint/2010/main" val="2697792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B3BD7-7CA0-4A53-A8A6-522C56444758}"/>
              </a:ext>
            </a:extLst>
          </p:cNvPr>
          <p:cNvSpPr>
            <a:spLocks noGrp="1"/>
          </p:cNvSpPr>
          <p:nvPr>
            <p:ph type="title"/>
          </p:nvPr>
        </p:nvSpPr>
        <p:spPr>
          <a:xfrm>
            <a:off x="640080" y="111002"/>
            <a:ext cx="16093440" cy="782320"/>
          </a:xfrm>
        </p:spPr>
        <p:txBody>
          <a:bodyPr>
            <a:normAutofit fontScale="90000"/>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pPr algn="ctr"/>
            <a:r>
              <a:rPr lang="en-US" dirty="0">
                <a:solidFill>
                  <a:schemeClr val="bg1">
                    <a:lumMod val="50000"/>
                  </a:schemeClr>
                </a:solidFill>
              </a:rPr>
              <a:t>High Level Operations Process Overview</a:t>
            </a:r>
          </a:p>
        </p:txBody>
      </p:sp>
      <p:pic>
        <p:nvPicPr>
          <p:cNvPr id="6" name="Picture 5">
            <a:extLst>
              <a:ext uri="{FF2B5EF4-FFF2-40B4-BE49-F238E27FC236}">
                <a16:creationId xmlns:a16="http://schemas.microsoft.com/office/drawing/2014/main" id="{F580856C-81E6-4366-819D-11510F5A8EB4}"/>
              </a:ext>
            </a:extLst>
          </p:cNvPr>
          <p:cNvPicPr>
            <a:picLocks noChangeAspect="1"/>
          </p:cNvPicPr>
          <p:nvPr/>
        </p:nvPicPr>
        <p:blipFill>
          <a:blip r:embed="rId2"/>
          <a:stretch>
            <a:fillRect/>
          </a:stretch>
        </p:blipFill>
        <p:spPr>
          <a:xfrm>
            <a:off x="2397031" y="893324"/>
            <a:ext cx="12118267" cy="8793573"/>
          </a:xfrm>
          <a:prstGeom prst="rect">
            <a:avLst/>
          </a:prstGeom>
        </p:spPr>
      </p:pic>
    </p:spTree>
    <p:extLst>
      <p:ext uri="{BB962C8B-B14F-4D97-AF65-F5344CB8AC3E}">
        <p14:creationId xmlns:p14="http://schemas.microsoft.com/office/powerpoint/2010/main" val="3144530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B3BD7-7CA0-4A53-A8A6-522C56444758}"/>
              </a:ext>
            </a:extLst>
          </p:cNvPr>
          <p:cNvSpPr>
            <a:spLocks noGrp="1"/>
          </p:cNvSpPr>
          <p:nvPr>
            <p:ph type="title"/>
          </p:nvPr>
        </p:nvSpPr>
        <p:spPr>
          <a:xfrm>
            <a:off x="640080" y="300166"/>
            <a:ext cx="16093440" cy="782320"/>
          </a:xfrm>
        </p:spPr>
        <p:txBody>
          <a:bodyPr>
            <a:normAutofit fontScale="90000"/>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pPr algn="ctr"/>
            <a:r>
              <a:rPr lang="en-US" dirty="0">
                <a:solidFill>
                  <a:schemeClr val="bg1">
                    <a:lumMod val="50000"/>
                  </a:schemeClr>
                </a:solidFill>
                <a:latin typeface="+mn-lt"/>
              </a:rPr>
              <a:t>Service Request Submission</a:t>
            </a:r>
          </a:p>
        </p:txBody>
      </p:sp>
      <p:sp>
        <p:nvSpPr>
          <p:cNvPr id="4" name="Rectangle 3">
            <a:extLst>
              <a:ext uri="{FF2B5EF4-FFF2-40B4-BE49-F238E27FC236}">
                <a16:creationId xmlns:a16="http://schemas.microsoft.com/office/drawing/2014/main" id="{4DA24A89-F705-44A2-B6A3-2722A2721C58}"/>
              </a:ext>
            </a:extLst>
          </p:cNvPr>
          <p:cNvSpPr/>
          <p:nvPr/>
        </p:nvSpPr>
        <p:spPr>
          <a:xfrm>
            <a:off x="1317219" y="4546937"/>
            <a:ext cx="5405006" cy="830997"/>
          </a:xfrm>
          <a:prstGeom prst="rect">
            <a:avLst/>
          </a:prstGeom>
        </p:spPr>
        <p:txBody>
          <a:bodyPr wrap="square">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sz="2400" b="1" dirty="0">
                <a:latin typeface="+mn-lt"/>
              </a:rPr>
              <a:t>How to submit a Service Request in IRIS</a:t>
            </a:r>
          </a:p>
          <a:p>
            <a:endParaRPr lang="en-US" sz="2400" dirty="0">
              <a:latin typeface="+mn-lt"/>
            </a:endParaRPr>
          </a:p>
        </p:txBody>
      </p:sp>
      <p:sp>
        <p:nvSpPr>
          <p:cNvPr id="6" name="Rectangle 5">
            <a:extLst>
              <a:ext uri="{FF2B5EF4-FFF2-40B4-BE49-F238E27FC236}">
                <a16:creationId xmlns:a16="http://schemas.microsoft.com/office/drawing/2014/main" id="{66EA656A-E171-4802-B5C4-1726BC021834}"/>
              </a:ext>
            </a:extLst>
          </p:cNvPr>
          <p:cNvSpPr/>
          <p:nvPr/>
        </p:nvSpPr>
        <p:spPr>
          <a:xfrm>
            <a:off x="1317221" y="1616045"/>
            <a:ext cx="15316242" cy="830997"/>
          </a:xfrm>
          <a:prstGeom prst="rect">
            <a:avLst/>
          </a:prstGeom>
        </p:spPr>
        <p:txBody>
          <a:bodyPr wrap="square">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sz="2400" b="1" dirty="0">
                <a:latin typeface="+mn-lt"/>
              </a:rPr>
              <a:t>Examples of when to follow the Service Request process:</a:t>
            </a:r>
          </a:p>
          <a:p>
            <a:endParaRPr lang="en-US" sz="2400" dirty="0">
              <a:latin typeface="+mn-lt"/>
            </a:endParaRPr>
          </a:p>
        </p:txBody>
      </p:sp>
      <p:sp>
        <p:nvSpPr>
          <p:cNvPr id="3" name="TextBox 2">
            <a:extLst>
              <a:ext uri="{FF2B5EF4-FFF2-40B4-BE49-F238E27FC236}">
                <a16:creationId xmlns:a16="http://schemas.microsoft.com/office/drawing/2014/main" id="{FC170E9A-60B9-40A9-9C90-D1541A277802}"/>
              </a:ext>
            </a:extLst>
          </p:cNvPr>
          <p:cNvSpPr txBox="1"/>
          <p:nvPr/>
        </p:nvSpPr>
        <p:spPr>
          <a:xfrm>
            <a:off x="1317220" y="2095147"/>
            <a:ext cx="12085402" cy="2585323"/>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dirty="0"/>
              <a:t>Service Requests should be submitted through IRS for the following activities/requests:</a:t>
            </a:r>
          </a:p>
          <a:p>
            <a:endParaRPr lang="en-US" dirty="0"/>
          </a:p>
          <a:p>
            <a:pPr marL="285750" indent="-285750">
              <a:buFont typeface="Arial" panose="020B0604020202020204" pitchFamily="34" charset="0"/>
              <a:buChar char="•"/>
            </a:pPr>
            <a:r>
              <a:rPr lang="en-US" dirty="0">
                <a:hlinkClick r:id="rId2"/>
              </a:rPr>
              <a:t>Create, modify or retire an automation schedule</a:t>
            </a:r>
            <a:r>
              <a:rPr lang="en-US" dirty="0"/>
              <a:t>, i.e. you have a new automation and would like to schedule the daily runs</a:t>
            </a:r>
          </a:p>
          <a:p>
            <a:pPr marL="285750" indent="-285750">
              <a:buFont typeface="Arial" panose="020B0604020202020204" pitchFamily="34" charset="0"/>
              <a:buChar char="•"/>
            </a:pPr>
            <a:r>
              <a:rPr lang="en-US" dirty="0">
                <a:hlinkClick r:id="rId3"/>
              </a:rPr>
              <a:t>Schedule On-demand process runs</a:t>
            </a:r>
            <a:r>
              <a:rPr lang="en-US" dirty="0"/>
              <a:t>, like in the event you might need to run a job outside the normal schedule</a:t>
            </a:r>
          </a:p>
          <a:p>
            <a:pPr marL="285750" indent="-285750">
              <a:buFont typeface="Arial" panose="020B0604020202020204" pitchFamily="34" charset="0"/>
              <a:buChar char="•"/>
            </a:pPr>
            <a:r>
              <a:rPr lang="en-US" dirty="0">
                <a:hlinkClick r:id="rId4"/>
              </a:rPr>
              <a:t>Create, modify or retire bot credentials</a:t>
            </a:r>
            <a:r>
              <a:rPr lang="en-US" dirty="0"/>
              <a:t>, for example changing the user name for a virtual identity</a:t>
            </a:r>
          </a:p>
          <a:p>
            <a:pPr marL="285750" indent="-285750">
              <a:buFont typeface="Arial" panose="020B0604020202020204" pitchFamily="34" charset="0"/>
              <a:buChar char="•"/>
            </a:pPr>
            <a:r>
              <a:rPr lang="en-US" dirty="0">
                <a:hlinkClick r:id="rId5"/>
              </a:rPr>
              <a:t>Virtual identity password resets</a:t>
            </a:r>
            <a:r>
              <a:rPr lang="en-US" dirty="0"/>
              <a:t>, i.e. when the bot’s password needs to be reset</a:t>
            </a:r>
          </a:p>
          <a:p>
            <a:pPr marL="285750" indent="-285750">
              <a:buFont typeface="Arial" panose="020B0604020202020204" pitchFamily="34" charset="0"/>
              <a:buChar char="•"/>
            </a:pPr>
            <a:r>
              <a:rPr lang="en-US" dirty="0"/>
              <a:t>For any other operational activities, visit our </a:t>
            </a:r>
            <a:r>
              <a:rPr lang="en-US" dirty="0">
                <a:hlinkClick r:id="rId6"/>
              </a:rPr>
              <a:t>RPA Operations Service Requests</a:t>
            </a:r>
            <a:r>
              <a:rPr lang="en-US" dirty="0"/>
              <a:t> page in Confluenc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8" name="TextBox 7">
            <a:extLst>
              <a:ext uri="{FF2B5EF4-FFF2-40B4-BE49-F238E27FC236}">
                <a16:creationId xmlns:a16="http://schemas.microsoft.com/office/drawing/2014/main" id="{EAD0EDAE-B4C1-43B4-BB88-27D6D9AB1A4A}"/>
              </a:ext>
            </a:extLst>
          </p:cNvPr>
          <p:cNvSpPr txBox="1"/>
          <p:nvPr/>
        </p:nvSpPr>
        <p:spPr>
          <a:xfrm>
            <a:off x="1317221" y="5159571"/>
            <a:ext cx="13546067" cy="4247317"/>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dirty="0"/>
              <a:t>Service Requests should be submitted through IRS by following these steps:</a:t>
            </a:r>
          </a:p>
          <a:p>
            <a:endParaRPr lang="en-US" dirty="0"/>
          </a:p>
          <a:p>
            <a:pPr marL="342900" indent="-342900">
              <a:buFont typeface="+mj-lt"/>
              <a:buAutoNum type="arabicPeriod"/>
            </a:pPr>
            <a:r>
              <a:rPr lang="en-US" dirty="0"/>
              <a:t>Go to </a:t>
            </a:r>
            <a:r>
              <a:rPr lang="en-US" dirty="0">
                <a:hlinkClick r:id="rId7"/>
              </a:rPr>
              <a:t>https://jnjprod.service-now.com/iris</a:t>
            </a:r>
            <a:endParaRPr lang="en-US" dirty="0"/>
          </a:p>
          <a:p>
            <a:pPr marL="342900" indent="-342900">
              <a:buFont typeface="+mj-lt"/>
              <a:buAutoNum type="arabicPeriod"/>
            </a:pPr>
            <a:r>
              <a:rPr lang="en-US" dirty="0"/>
              <a:t>Click </a:t>
            </a:r>
            <a:r>
              <a:rPr lang="en-US" b="1" i="1" dirty="0"/>
              <a:t>Submit a</a:t>
            </a:r>
            <a:r>
              <a:rPr lang="en-US" b="1" dirty="0"/>
              <a:t> Request</a:t>
            </a:r>
            <a:r>
              <a:rPr lang="en-US" dirty="0"/>
              <a:t> (at the bottom of the screen)</a:t>
            </a:r>
          </a:p>
          <a:p>
            <a:pPr marL="342900" indent="-342900">
              <a:buFont typeface="+mj-lt"/>
              <a:buAutoNum type="arabicPeriod"/>
            </a:pPr>
            <a:r>
              <a:rPr lang="en-US" dirty="0"/>
              <a:t>Choose the appropriate requested from the </a:t>
            </a:r>
            <a:r>
              <a:rPr lang="en-US" b="1" i="1" dirty="0"/>
              <a:t>Application Maintenance </a:t>
            </a:r>
            <a:r>
              <a:rPr lang="en-US" dirty="0"/>
              <a:t>section</a:t>
            </a:r>
          </a:p>
          <a:p>
            <a:pPr marL="342900" indent="-342900">
              <a:buFont typeface="+mj-lt"/>
              <a:buAutoNum type="arabicPeriod"/>
            </a:pPr>
            <a:endParaRPr lang="en-US" dirty="0"/>
          </a:p>
          <a:p>
            <a:r>
              <a:rPr lang="en-US" dirty="0"/>
              <a:t>When submitting the request, please make sure you provide the appropriate CMDB CI name of your application in the “</a:t>
            </a:r>
            <a:r>
              <a:rPr lang="en-US" b="1" i="1" dirty="0"/>
              <a:t>Application CI</a:t>
            </a:r>
            <a:r>
              <a:rPr lang="en-US" dirty="0"/>
              <a:t>” field and if asked for the support group, you should enter “</a:t>
            </a:r>
            <a:r>
              <a:rPr lang="en-US" b="1" i="1" dirty="0"/>
              <a:t>ROBOTIC PROCESS AUTOMATION L2</a:t>
            </a:r>
            <a:r>
              <a:rPr lang="en-US" dirty="0"/>
              <a:t>”</a:t>
            </a:r>
          </a:p>
          <a:p>
            <a:endParaRPr lang="en-US" dirty="0"/>
          </a:p>
          <a:p>
            <a:r>
              <a:rPr lang="en-US" dirty="0"/>
              <a:t>Most of the RPA Service Requests have due date of 2 Business Days. This means that your request should be completed within 2 business days.</a:t>
            </a:r>
          </a:p>
          <a:p>
            <a:endParaRPr lang="en-US" dirty="0"/>
          </a:p>
          <a:p>
            <a:r>
              <a:rPr lang="en-US" dirty="0"/>
              <a:t>For more information on finding and completing the request form please visit our </a:t>
            </a:r>
            <a:r>
              <a:rPr lang="en-US" dirty="0">
                <a:hlinkClick r:id="rId6"/>
              </a:rPr>
              <a:t>RPA Operations Service Requests</a:t>
            </a:r>
            <a:r>
              <a:rPr lang="en-US" dirty="0"/>
              <a:t> page in Confluence</a:t>
            </a:r>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222145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B3BD7-7CA0-4A53-A8A6-522C56444758}"/>
              </a:ext>
            </a:extLst>
          </p:cNvPr>
          <p:cNvSpPr>
            <a:spLocks noGrp="1"/>
          </p:cNvSpPr>
          <p:nvPr>
            <p:ph type="title"/>
          </p:nvPr>
        </p:nvSpPr>
        <p:spPr>
          <a:xfrm>
            <a:off x="640080" y="300166"/>
            <a:ext cx="16093440" cy="782320"/>
          </a:xfrm>
        </p:spPr>
        <p:txBody>
          <a:bodyPr>
            <a:normAutofit fontScale="90000"/>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pPr algn="ctr"/>
            <a:r>
              <a:rPr lang="en-US" dirty="0">
                <a:solidFill>
                  <a:schemeClr val="bg1">
                    <a:lumMod val="50000"/>
                  </a:schemeClr>
                </a:solidFill>
                <a:latin typeface="+mn-lt"/>
              </a:rPr>
              <a:t>Incident Reporting</a:t>
            </a:r>
          </a:p>
        </p:txBody>
      </p:sp>
      <p:sp>
        <p:nvSpPr>
          <p:cNvPr id="4" name="Rectangle 3">
            <a:extLst>
              <a:ext uri="{FF2B5EF4-FFF2-40B4-BE49-F238E27FC236}">
                <a16:creationId xmlns:a16="http://schemas.microsoft.com/office/drawing/2014/main" id="{4DA24A89-F705-44A2-B6A3-2722A2721C58}"/>
              </a:ext>
            </a:extLst>
          </p:cNvPr>
          <p:cNvSpPr/>
          <p:nvPr/>
        </p:nvSpPr>
        <p:spPr>
          <a:xfrm>
            <a:off x="1388595" y="1333060"/>
            <a:ext cx="13834683" cy="2585323"/>
          </a:xfrm>
          <a:prstGeom prst="rect">
            <a:avLst/>
          </a:prstGeom>
        </p:spPr>
        <p:txBody>
          <a:bodyPr wrap="square">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sz="2400" b="1" dirty="0">
                <a:latin typeface="+mn-lt"/>
              </a:rPr>
              <a:t>When to report an incident?</a:t>
            </a:r>
          </a:p>
          <a:p>
            <a:endParaRPr lang="en-US" sz="2400" b="1" dirty="0">
              <a:latin typeface="+mn-lt"/>
            </a:endParaRPr>
          </a:p>
          <a:p>
            <a:r>
              <a:rPr lang="en-US" dirty="0">
                <a:latin typeface="+mn-lt"/>
              </a:rPr>
              <a:t>An incident should be reported if  the automation is down or not operating as expected. For example if systems exceptions are occurring and you have not been already notified by the RPA support team, then an incident should be reported.</a:t>
            </a:r>
          </a:p>
          <a:p>
            <a:endParaRPr lang="en-US" dirty="0">
              <a:latin typeface="+mn-lt"/>
            </a:endParaRPr>
          </a:p>
          <a:p>
            <a:r>
              <a:rPr lang="en-US" dirty="0">
                <a:latin typeface="+mn-lt"/>
              </a:rPr>
              <a:t>The support team is responsible for monitoring the automations and opening an incidents in case such events occur and notify the business owners. </a:t>
            </a:r>
          </a:p>
          <a:p>
            <a:endParaRPr lang="en-US" sz="2400" dirty="0">
              <a:latin typeface="+mn-lt"/>
            </a:endParaRPr>
          </a:p>
        </p:txBody>
      </p:sp>
      <p:sp>
        <p:nvSpPr>
          <p:cNvPr id="5" name="Rectangle 4">
            <a:extLst>
              <a:ext uri="{FF2B5EF4-FFF2-40B4-BE49-F238E27FC236}">
                <a16:creationId xmlns:a16="http://schemas.microsoft.com/office/drawing/2014/main" id="{FA5A9DD9-E044-4986-B90A-43592D933EAF}"/>
              </a:ext>
            </a:extLst>
          </p:cNvPr>
          <p:cNvSpPr/>
          <p:nvPr/>
        </p:nvSpPr>
        <p:spPr>
          <a:xfrm>
            <a:off x="1388595" y="4168955"/>
            <a:ext cx="13834683" cy="3416320"/>
          </a:xfrm>
          <a:prstGeom prst="rect">
            <a:avLst/>
          </a:prstGeom>
        </p:spPr>
        <p:txBody>
          <a:bodyPr wrap="square">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sz="2400" b="1" dirty="0">
                <a:latin typeface="+mn-lt"/>
              </a:rPr>
              <a:t>How to report an incident?</a:t>
            </a:r>
          </a:p>
          <a:p>
            <a:endParaRPr lang="en-US" sz="2400" b="1" dirty="0">
              <a:latin typeface="+mn-lt"/>
            </a:endParaRPr>
          </a:p>
          <a:p>
            <a:r>
              <a:rPr lang="en-US" dirty="0">
                <a:latin typeface="+mn-lt"/>
              </a:rPr>
              <a:t>Incidents should be reported directly into </a:t>
            </a:r>
            <a:r>
              <a:rPr lang="en-US" dirty="0">
                <a:latin typeface="+mn-lt"/>
                <a:hlinkClick r:id="rId2"/>
              </a:rPr>
              <a:t>IRIS</a:t>
            </a:r>
            <a:r>
              <a:rPr lang="en-US" dirty="0">
                <a:latin typeface="+mn-lt"/>
              </a:rPr>
              <a:t>. For more information on reporting and tracking incidents and incident priority and definitions see our </a:t>
            </a:r>
            <a:r>
              <a:rPr lang="en-US" dirty="0">
                <a:latin typeface="+mn-lt"/>
                <a:hlinkClick r:id="rId3"/>
              </a:rPr>
              <a:t>Incident page in Confluence</a:t>
            </a:r>
            <a:r>
              <a:rPr lang="en-US" dirty="0">
                <a:latin typeface="+mn-lt"/>
              </a:rPr>
              <a:t>.</a:t>
            </a:r>
          </a:p>
          <a:p>
            <a:endParaRPr lang="en-US" dirty="0">
              <a:latin typeface="+mn-lt"/>
            </a:endParaRPr>
          </a:p>
          <a:p>
            <a:r>
              <a:rPr lang="en-US" dirty="0">
                <a:latin typeface="+mn-lt"/>
              </a:rPr>
              <a:t>Incidents should be reported against the Automation CI that is uniquely assigned to your automation in IRIS/CMDB. If you don’t know your </a:t>
            </a:r>
            <a:r>
              <a:rPr lang="en-US" b="1" i="1" dirty="0">
                <a:latin typeface="+mn-lt"/>
              </a:rPr>
              <a:t>Automation CI Name,</a:t>
            </a:r>
            <a:r>
              <a:rPr lang="en-US" dirty="0">
                <a:latin typeface="+mn-lt"/>
              </a:rPr>
              <a:t> you can simply look it up by visiting the </a:t>
            </a:r>
            <a:r>
              <a:rPr lang="en-US" dirty="0">
                <a:latin typeface="+mn-lt"/>
                <a:hlinkClick r:id="rId4"/>
              </a:rPr>
              <a:t>Automations Details page in Confluence</a:t>
            </a:r>
            <a:r>
              <a:rPr lang="en-US" dirty="0">
                <a:latin typeface="+mn-lt"/>
              </a:rPr>
              <a:t>.</a:t>
            </a:r>
          </a:p>
          <a:p>
            <a:endParaRPr lang="en-US" dirty="0">
              <a:latin typeface="+mn-lt"/>
            </a:endParaRPr>
          </a:p>
          <a:p>
            <a:r>
              <a:rPr lang="en-US" dirty="0">
                <a:latin typeface="+mn-lt"/>
              </a:rPr>
              <a:t>See the </a:t>
            </a:r>
            <a:r>
              <a:rPr lang="en-US" dirty="0">
                <a:latin typeface="+mn-lt"/>
                <a:hlinkClick r:id="rId5" action="ppaction://hlinksldjump"/>
              </a:rPr>
              <a:t>Support Medal &amp;SLA slide </a:t>
            </a:r>
            <a:r>
              <a:rPr lang="en-US" dirty="0">
                <a:latin typeface="+mn-lt"/>
              </a:rPr>
              <a:t>for more details around Incident response and resolution time based on Incident priority and medal.</a:t>
            </a:r>
          </a:p>
          <a:p>
            <a:endParaRPr lang="en-US" dirty="0">
              <a:latin typeface="+mn-lt"/>
            </a:endParaRPr>
          </a:p>
          <a:p>
            <a:endParaRPr lang="en-US" sz="2400" dirty="0">
              <a:latin typeface="+mn-lt"/>
            </a:endParaRPr>
          </a:p>
        </p:txBody>
      </p:sp>
    </p:spTree>
    <p:extLst>
      <p:ext uri="{BB962C8B-B14F-4D97-AF65-F5344CB8AC3E}">
        <p14:creationId xmlns:p14="http://schemas.microsoft.com/office/powerpoint/2010/main" val="20116622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B3BD7-7CA0-4A53-A8A6-522C56444758}"/>
              </a:ext>
            </a:extLst>
          </p:cNvPr>
          <p:cNvSpPr>
            <a:spLocks noGrp="1"/>
          </p:cNvSpPr>
          <p:nvPr>
            <p:ph type="title"/>
          </p:nvPr>
        </p:nvSpPr>
        <p:spPr>
          <a:xfrm>
            <a:off x="640080" y="300166"/>
            <a:ext cx="16093440" cy="782320"/>
          </a:xfrm>
        </p:spPr>
        <p:txBody>
          <a:bodyPr>
            <a:normAutofit fontScale="90000"/>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pPr algn="ctr"/>
            <a:r>
              <a:rPr lang="en-US" dirty="0">
                <a:solidFill>
                  <a:schemeClr val="bg1">
                    <a:lumMod val="50000"/>
                  </a:schemeClr>
                </a:solidFill>
                <a:latin typeface="+mn-lt"/>
              </a:rPr>
              <a:t>Small Enhancement Categorization Criteria</a:t>
            </a:r>
          </a:p>
        </p:txBody>
      </p:sp>
      <p:sp>
        <p:nvSpPr>
          <p:cNvPr id="4" name="Rectangle 3">
            <a:extLst>
              <a:ext uri="{FF2B5EF4-FFF2-40B4-BE49-F238E27FC236}">
                <a16:creationId xmlns:a16="http://schemas.microsoft.com/office/drawing/2014/main" id="{4DA24A89-F705-44A2-B6A3-2722A2721C58}"/>
              </a:ext>
            </a:extLst>
          </p:cNvPr>
          <p:cNvSpPr/>
          <p:nvPr/>
        </p:nvSpPr>
        <p:spPr>
          <a:xfrm>
            <a:off x="1479268" y="1378048"/>
            <a:ext cx="13834683" cy="2492990"/>
          </a:xfrm>
          <a:prstGeom prst="rect">
            <a:avLst/>
          </a:prstGeom>
        </p:spPr>
        <p:txBody>
          <a:bodyPr wrap="square">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sz="2400" b="1" dirty="0">
                <a:latin typeface="+mn-lt"/>
              </a:rPr>
              <a:t>For a change to qualifies as a small enhancement, it must be:</a:t>
            </a:r>
          </a:p>
          <a:p>
            <a:endParaRPr lang="en-US" sz="2400" b="1" dirty="0">
              <a:latin typeface="+mn-lt"/>
            </a:endParaRPr>
          </a:p>
          <a:p>
            <a:pPr marL="419110" indent="-419110">
              <a:buFont typeface="Arial" panose="020B0604020202020204" pitchFamily="34" charset="0"/>
              <a:buChar char="•"/>
            </a:pPr>
            <a:r>
              <a:rPr lang="en-US" dirty="0">
                <a:latin typeface="+mn-lt"/>
              </a:rPr>
              <a:t>part of an to existing process in production</a:t>
            </a:r>
          </a:p>
          <a:p>
            <a:pPr marL="419110" indent="-419110">
              <a:buFont typeface="Arial" panose="020B0604020202020204" pitchFamily="34" charset="0"/>
              <a:buChar char="•"/>
            </a:pPr>
            <a:r>
              <a:rPr lang="en-US" dirty="0">
                <a:latin typeface="+mn-lt"/>
              </a:rPr>
              <a:t>released independently of other changes</a:t>
            </a:r>
          </a:p>
          <a:p>
            <a:pPr marL="419110" indent="-419110">
              <a:buFont typeface="Arial" panose="020B0604020202020204" pitchFamily="34" charset="0"/>
              <a:buChar char="•"/>
            </a:pPr>
            <a:r>
              <a:rPr lang="en-US" dirty="0">
                <a:latin typeface="+mn-lt"/>
              </a:rPr>
              <a:t>a low complexity change that can be developed in less than 5 business days</a:t>
            </a:r>
          </a:p>
          <a:p>
            <a:pPr marL="419110" indent="-419110">
              <a:buFont typeface="Arial" panose="020B0604020202020204" pitchFamily="34" charset="0"/>
              <a:buChar char="•"/>
            </a:pPr>
            <a:r>
              <a:rPr lang="en-US" dirty="0">
                <a:latin typeface="+mn-lt"/>
              </a:rPr>
              <a:t>flexible in terms of delivery date</a:t>
            </a:r>
          </a:p>
          <a:p>
            <a:r>
              <a:rPr lang="en-US" dirty="0">
                <a:latin typeface="+mn-lt"/>
              </a:rPr>
              <a:t>      </a:t>
            </a:r>
          </a:p>
          <a:p>
            <a:r>
              <a:rPr lang="en-US" dirty="0">
                <a:latin typeface="+mn-lt"/>
              </a:rPr>
              <a:t>Note: For more information check out the </a:t>
            </a:r>
            <a:r>
              <a:rPr lang="en-US" dirty="0">
                <a:latin typeface="+mn-lt"/>
                <a:hlinkClick r:id="rId2"/>
              </a:rPr>
              <a:t>Small Enhancement process page in Confluence </a:t>
            </a:r>
            <a:endParaRPr lang="en-US" dirty="0">
              <a:latin typeface="+mn-lt"/>
            </a:endParaRPr>
          </a:p>
        </p:txBody>
      </p:sp>
      <p:sp>
        <p:nvSpPr>
          <p:cNvPr id="5" name="Rectangle 4">
            <a:extLst>
              <a:ext uri="{FF2B5EF4-FFF2-40B4-BE49-F238E27FC236}">
                <a16:creationId xmlns:a16="http://schemas.microsoft.com/office/drawing/2014/main" id="{F9C656CF-FC69-4329-BF80-CCEB60791DCE}"/>
              </a:ext>
            </a:extLst>
          </p:cNvPr>
          <p:cNvSpPr/>
          <p:nvPr/>
        </p:nvSpPr>
        <p:spPr>
          <a:xfrm>
            <a:off x="1479268" y="4364165"/>
            <a:ext cx="13591615" cy="4801314"/>
          </a:xfrm>
          <a:prstGeom prst="rect">
            <a:avLst/>
          </a:prstGeom>
        </p:spPr>
        <p:txBody>
          <a:bodyPr wrap="square">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sz="2400" b="1" dirty="0">
                <a:latin typeface="+mn-lt"/>
              </a:rPr>
              <a:t>For small enhancement to be started the following conditions must be met:</a:t>
            </a:r>
          </a:p>
          <a:p>
            <a:endParaRPr lang="en-US" sz="2400" b="1" dirty="0">
              <a:latin typeface="+mn-lt"/>
            </a:endParaRPr>
          </a:p>
          <a:p>
            <a:pPr marL="419110" indent="-419110">
              <a:buFont typeface="Arial" panose="020B0604020202020204" pitchFamily="34" charset="0"/>
              <a:buChar char="•"/>
            </a:pPr>
            <a:r>
              <a:rPr lang="en-US" dirty="0">
                <a:latin typeface="+mn-lt"/>
              </a:rPr>
              <a:t>A user story must be present in the </a:t>
            </a:r>
            <a:r>
              <a:rPr lang="en-US" dirty="0">
                <a:latin typeface="+mn-lt"/>
                <a:hlinkClick r:id="rId3"/>
              </a:rPr>
              <a:t>JIRA Kanban</a:t>
            </a:r>
            <a:endParaRPr lang="en-US" dirty="0">
              <a:latin typeface="+mn-lt"/>
            </a:endParaRPr>
          </a:p>
          <a:p>
            <a:pPr marL="419110" indent="-419110">
              <a:buFont typeface="Arial" panose="020B0604020202020204" pitchFamily="34" charset="0"/>
              <a:buChar char="•"/>
            </a:pPr>
            <a:r>
              <a:rPr lang="en-US" dirty="0">
                <a:latin typeface="+mn-lt"/>
              </a:rPr>
              <a:t>For small enhancements requests within Global Services, please engage with </a:t>
            </a:r>
            <a:r>
              <a:rPr lang="en-US" dirty="0">
                <a:latin typeface="+mn-lt"/>
                <a:hlinkClick r:id="rId4"/>
              </a:rPr>
              <a:t>Andrew Whitten</a:t>
            </a:r>
            <a:r>
              <a:rPr lang="en-US" dirty="0">
                <a:latin typeface="+mn-lt"/>
              </a:rPr>
              <a:t> </a:t>
            </a:r>
          </a:p>
          <a:p>
            <a:pPr marL="419110" indent="-419110">
              <a:buFont typeface="Arial" panose="020B0604020202020204" pitchFamily="34" charset="0"/>
              <a:buChar char="•"/>
            </a:pPr>
            <a:r>
              <a:rPr lang="en-US" dirty="0">
                <a:latin typeface="+mn-lt"/>
              </a:rPr>
              <a:t>All mandatory JIRA fields have been populated​ in the user story</a:t>
            </a:r>
          </a:p>
          <a:p>
            <a:pPr marL="419110" indent="-419110">
              <a:buFont typeface="Arial" panose="020B0604020202020204" pitchFamily="34" charset="0"/>
              <a:buChar char="•"/>
            </a:pPr>
            <a:r>
              <a:rPr lang="en-US" dirty="0">
                <a:latin typeface="+mn-lt"/>
              </a:rPr>
              <a:t>A test plan is defined and stated within the user story</a:t>
            </a:r>
          </a:p>
          <a:p>
            <a:pPr marL="419110" indent="-419110">
              <a:buFont typeface="Arial" panose="020B0604020202020204" pitchFamily="34" charset="0"/>
              <a:buChar char="•"/>
            </a:pPr>
            <a:r>
              <a:rPr lang="en-US" dirty="0">
                <a:latin typeface="+mn-lt"/>
              </a:rPr>
              <a:t>Dependencies have been identified for the user story. Examples include:​</a:t>
            </a:r>
          </a:p>
          <a:p>
            <a:pPr marL="1087357" lvl="1" indent="-419110">
              <a:buFont typeface="Arial" panose="020B0604020202020204" pitchFamily="34" charset="0"/>
              <a:buChar char="•"/>
            </a:pPr>
            <a:r>
              <a:rPr lang="en-US" dirty="0">
                <a:latin typeface="+mn-lt"/>
              </a:rPr>
              <a:t>Dependencies on other user stories​</a:t>
            </a:r>
          </a:p>
          <a:p>
            <a:pPr marL="1087357" lvl="1" indent="-419110">
              <a:buFont typeface="Arial" panose="020B0604020202020204" pitchFamily="34" charset="0"/>
              <a:buChar char="•"/>
            </a:pPr>
            <a:r>
              <a:rPr lang="en-US" dirty="0">
                <a:latin typeface="+mn-lt"/>
              </a:rPr>
              <a:t>Source/Target system dependencies​</a:t>
            </a:r>
          </a:p>
          <a:p>
            <a:pPr marL="1087357" lvl="1" indent="-419110">
              <a:buFont typeface="Arial" panose="020B0604020202020204" pitchFamily="34" charset="0"/>
              <a:buChar char="•"/>
            </a:pPr>
            <a:r>
              <a:rPr lang="en-US" dirty="0">
                <a:latin typeface="+mn-lt"/>
              </a:rPr>
              <a:t>Data/Test Data Requirements​</a:t>
            </a:r>
          </a:p>
          <a:p>
            <a:pPr marL="419110" indent="-419110">
              <a:buFont typeface="Arial" panose="020B0604020202020204" pitchFamily="34" charset="0"/>
              <a:buChar char="•"/>
            </a:pPr>
            <a:r>
              <a:rPr lang="en-US" dirty="0">
                <a:latin typeface="+mn-lt"/>
              </a:rPr>
              <a:t>Priority, Business Value and Acceptance Criteria are documented and agreed upon by business partners​</a:t>
            </a:r>
          </a:p>
          <a:p>
            <a:pPr marL="419110" indent="-419110">
              <a:buFont typeface="Arial" panose="020B0604020202020204" pitchFamily="34" charset="0"/>
              <a:buChar char="•"/>
            </a:pPr>
            <a:r>
              <a:rPr lang="en-US" dirty="0">
                <a:latin typeface="+mn-lt"/>
              </a:rPr>
              <a:t>User Stories have been estimated in hours and the cost estimation has been provided an approved</a:t>
            </a:r>
          </a:p>
          <a:p>
            <a:pPr marL="419110" indent="-419110">
              <a:buFont typeface="Arial" panose="020B0604020202020204" pitchFamily="34" charset="0"/>
              <a:buChar char="•"/>
            </a:pPr>
            <a:r>
              <a:rPr lang="en-US" dirty="0">
                <a:latin typeface="+mn-lt"/>
              </a:rPr>
              <a:t>Solution is approved by the design authority</a:t>
            </a:r>
          </a:p>
          <a:p>
            <a:pPr marL="419110" indent="-419110">
              <a:buFont typeface="Arial" panose="020B0604020202020204" pitchFamily="34" charset="0"/>
              <a:buChar char="•"/>
            </a:pPr>
            <a:r>
              <a:rPr lang="en-US" dirty="0">
                <a:latin typeface="+mn-lt"/>
              </a:rPr>
              <a:t>User Stories are funded through intercompany service billings once the enhancement funding request form is approved by the business owner of the automation  </a:t>
            </a:r>
          </a:p>
          <a:p>
            <a:pPr marL="419110" indent="-419110">
              <a:buFont typeface="Arial" panose="020B0604020202020204" pitchFamily="34" charset="0"/>
              <a:buChar char="•"/>
            </a:pPr>
            <a:endParaRPr lang="en-US" sz="2400" dirty="0">
              <a:latin typeface="+mn-lt"/>
            </a:endParaRPr>
          </a:p>
        </p:txBody>
      </p:sp>
    </p:spTree>
    <p:extLst>
      <p:ext uri="{BB962C8B-B14F-4D97-AF65-F5344CB8AC3E}">
        <p14:creationId xmlns:p14="http://schemas.microsoft.com/office/powerpoint/2010/main" val="18565520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B3BD7-7CA0-4A53-A8A6-522C56444758}"/>
              </a:ext>
            </a:extLst>
          </p:cNvPr>
          <p:cNvSpPr>
            <a:spLocks noGrp="1"/>
          </p:cNvSpPr>
          <p:nvPr>
            <p:ph type="title"/>
          </p:nvPr>
        </p:nvSpPr>
        <p:spPr>
          <a:xfrm>
            <a:off x="2237785" y="293364"/>
            <a:ext cx="12898032" cy="338554"/>
          </a:xfrm>
        </p:spPr>
        <p:txBody>
          <a:bodyPr>
            <a:normAutofit fontScale="90000"/>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pPr algn="ctr"/>
            <a:r>
              <a:rPr lang="en-US" dirty="0">
                <a:solidFill>
                  <a:schemeClr val="bg1">
                    <a:lumMod val="50000"/>
                  </a:schemeClr>
                </a:solidFill>
                <a:latin typeface="+mn-lt"/>
              </a:rPr>
              <a:t>Supported</a:t>
            </a:r>
            <a:r>
              <a:rPr lang="en-US" dirty="0">
                <a:solidFill>
                  <a:schemeClr val="bg1">
                    <a:lumMod val="50000"/>
                  </a:schemeClr>
                </a:solidFill>
              </a:rPr>
              <a:t> Activities</a:t>
            </a:r>
          </a:p>
        </p:txBody>
      </p:sp>
      <p:sp>
        <p:nvSpPr>
          <p:cNvPr id="4" name="Rectangle 3">
            <a:extLst>
              <a:ext uri="{FF2B5EF4-FFF2-40B4-BE49-F238E27FC236}">
                <a16:creationId xmlns:a16="http://schemas.microsoft.com/office/drawing/2014/main" id="{01DF8CF6-7F7A-43D8-B75C-2B579B5D35AD}"/>
              </a:ext>
            </a:extLst>
          </p:cNvPr>
          <p:cNvSpPr/>
          <p:nvPr/>
        </p:nvSpPr>
        <p:spPr>
          <a:xfrm>
            <a:off x="1388595" y="1333061"/>
            <a:ext cx="13834683" cy="5262979"/>
          </a:xfrm>
          <a:prstGeom prst="rect">
            <a:avLst/>
          </a:prstGeom>
        </p:spPr>
        <p:txBody>
          <a:bodyPr wrap="square">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sz="2400" b="1" dirty="0">
                <a:latin typeface="+mn-lt"/>
              </a:rPr>
              <a:t>Activities that are in scope:</a:t>
            </a:r>
          </a:p>
          <a:p>
            <a:endParaRPr lang="en-US" sz="2400" b="1" dirty="0">
              <a:latin typeface="+mn-lt"/>
            </a:endParaRPr>
          </a:p>
          <a:p>
            <a:pPr marL="1162150" lvl="1" indent="-342900">
              <a:buFont typeface="Courier New" panose="02070309020205020404" pitchFamily="49" charset="0"/>
              <a:buChar char="o"/>
            </a:pPr>
            <a:r>
              <a:rPr lang="en-US" sz="2400" dirty="0">
                <a:latin typeface="+mn-lt"/>
              </a:rPr>
              <a:t>Continuous job monitoring </a:t>
            </a:r>
          </a:p>
          <a:p>
            <a:pPr marL="1162150" lvl="1" indent="-342900">
              <a:buFont typeface="Courier New" panose="02070309020205020404" pitchFamily="49" charset="0"/>
              <a:buChar char="o"/>
            </a:pPr>
            <a:r>
              <a:rPr lang="en-US" sz="2400" dirty="0">
                <a:latin typeface="+mn-lt"/>
              </a:rPr>
              <a:t>Providing metrics &amp; reporting around bot performance, utilization and exception occurrences </a:t>
            </a:r>
          </a:p>
          <a:p>
            <a:pPr marL="1162150" lvl="1" indent="-342900">
              <a:buFont typeface="Courier New" panose="02070309020205020404" pitchFamily="49" charset="0"/>
              <a:buChar char="o"/>
            </a:pPr>
            <a:r>
              <a:rPr lang="en-US" sz="2400" dirty="0">
                <a:latin typeface="+mn-lt"/>
              </a:rPr>
              <a:t>Incident reporting on service interruptions &amp; erroneous executions</a:t>
            </a:r>
          </a:p>
          <a:p>
            <a:pPr marL="1162150" lvl="1" indent="-342900">
              <a:buFont typeface="Courier New" panose="02070309020205020404" pitchFamily="49" charset="0"/>
              <a:buChar char="o"/>
            </a:pPr>
            <a:r>
              <a:rPr lang="en-US" sz="2400" dirty="0">
                <a:latin typeface="+mn-lt"/>
              </a:rPr>
              <a:t>Performing analysis and investigations to determine the root cause of system exceptions and taking the appropriate action to resolve these</a:t>
            </a:r>
          </a:p>
          <a:p>
            <a:pPr marL="1162150" lvl="1" indent="-342900">
              <a:buFont typeface="Courier New" panose="02070309020205020404" pitchFamily="49" charset="0"/>
              <a:buChar char="o"/>
            </a:pPr>
            <a:r>
              <a:rPr lang="en-US" sz="2400" dirty="0">
                <a:latin typeface="+mn-lt"/>
              </a:rPr>
              <a:t>Continuous improvement of exception handling logic</a:t>
            </a:r>
          </a:p>
          <a:p>
            <a:pPr marL="1162150" lvl="1" indent="-342900">
              <a:buFont typeface="Courier New" panose="02070309020205020404" pitchFamily="49" charset="0"/>
              <a:buChar char="o"/>
            </a:pPr>
            <a:r>
              <a:rPr lang="en-US" sz="2400" dirty="0">
                <a:latin typeface="+mn-lt"/>
              </a:rPr>
              <a:t>Responding &amp; fulfilling service requests for bot management, such as adding or retiring bots, schedule changes, credential updates, etc.</a:t>
            </a:r>
          </a:p>
          <a:p>
            <a:pPr marL="1162150" lvl="1" indent="-342900">
              <a:buFont typeface="Courier New" panose="02070309020205020404" pitchFamily="49" charset="0"/>
              <a:buChar char="o"/>
            </a:pPr>
            <a:r>
              <a:rPr lang="en-US" sz="2400" dirty="0">
                <a:latin typeface="+mn-lt"/>
              </a:rPr>
              <a:t>Supporting small enhancements to adapt the automation if any changes occur to the source &amp; target applications. Small enhancements should require up to 40h for effort and will required funding approval from the business owner prior to engaging the support team.</a:t>
            </a:r>
          </a:p>
          <a:p>
            <a:pPr lvl="1"/>
            <a:endParaRPr lang="en-US" sz="2400" dirty="0">
              <a:latin typeface="+mn-lt"/>
            </a:endParaRPr>
          </a:p>
        </p:txBody>
      </p:sp>
      <p:sp>
        <p:nvSpPr>
          <p:cNvPr id="6" name="Rectangle 5">
            <a:extLst>
              <a:ext uri="{FF2B5EF4-FFF2-40B4-BE49-F238E27FC236}">
                <a16:creationId xmlns:a16="http://schemas.microsoft.com/office/drawing/2014/main" id="{AFB7B305-71E1-4589-A12E-AE0C306161F8}"/>
              </a:ext>
            </a:extLst>
          </p:cNvPr>
          <p:cNvSpPr/>
          <p:nvPr/>
        </p:nvSpPr>
        <p:spPr>
          <a:xfrm>
            <a:off x="1388594" y="6446626"/>
            <a:ext cx="13834683" cy="2677656"/>
          </a:xfrm>
          <a:prstGeom prst="rect">
            <a:avLst/>
          </a:prstGeom>
        </p:spPr>
        <p:txBody>
          <a:bodyPr wrap="square">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sz="2400" b="1" dirty="0">
                <a:latin typeface="+mn-lt"/>
              </a:rPr>
              <a:t>Activities that are out of scope:</a:t>
            </a:r>
          </a:p>
          <a:p>
            <a:endParaRPr lang="en-US" sz="2400" dirty="0">
              <a:latin typeface="+mn-lt"/>
            </a:endParaRPr>
          </a:p>
          <a:p>
            <a:r>
              <a:rPr lang="en-US" sz="2400" dirty="0">
                <a:latin typeface="+mn-lt"/>
              </a:rPr>
              <a:t>The following requests will not be handled by the support team. These types of requests will have to 	follow the build process:</a:t>
            </a:r>
          </a:p>
          <a:p>
            <a:pPr marL="1162150" lvl="1" indent="-342900">
              <a:buFont typeface="Courier New" panose="02070309020205020404" pitchFamily="49" charset="0"/>
              <a:buChar char="o"/>
            </a:pPr>
            <a:r>
              <a:rPr lang="en-US" sz="2400" dirty="0">
                <a:latin typeface="+mn-lt"/>
              </a:rPr>
              <a:t>Development &amp; implementation of new automations</a:t>
            </a:r>
          </a:p>
          <a:p>
            <a:pPr marL="1162150" lvl="1" indent="-342900">
              <a:buFont typeface="Courier New" panose="02070309020205020404" pitchFamily="49" charset="0"/>
              <a:buChar char="o"/>
            </a:pPr>
            <a:r>
              <a:rPr lang="en-US" sz="2400" dirty="0">
                <a:latin typeface="+mn-lt"/>
              </a:rPr>
              <a:t>Complex changes that require more than 40h of development work</a:t>
            </a:r>
          </a:p>
          <a:p>
            <a:pPr lvl="1"/>
            <a:endParaRPr lang="en-US" sz="2400" dirty="0">
              <a:latin typeface="+mn-lt"/>
            </a:endParaRPr>
          </a:p>
        </p:txBody>
      </p:sp>
    </p:spTree>
    <p:extLst>
      <p:ext uri="{BB962C8B-B14F-4D97-AF65-F5344CB8AC3E}">
        <p14:creationId xmlns:p14="http://schemas.microsoft.com/office/powerpoint/2010/main" val="14656865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B3BD7-7CA0-4A53-A8A6-522C56444758}"/>
              </a:ext>
            </a:extLst>
          </p:cNvPr>
          <p:cNvSpPr>
            <a:spLocks noGrp="1"/>
          </p:cNvSpPr>
          <p:nvPr>
            <p:ph type="title"/>
          </p:nvPr>
        </p:nvSpPr>
        <p:spPr>
          <a:xfrm>
            <a:off x="2219326" y="99789"/>
            <a:ext cx="12898032" cy="338554"/>
          </a:xfrm>
        </p:spPr>
        <p:txBody>
          <a:bodyPr>
            <a:normAutofit fontScale="90000"/>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pPr algn="ctr"/>
            <a:r>
              <a:rPr lang="en-US" dirty="0">
                <a:solidFill>
                  <a:schemeClr val="bg1">
                    <a:lumMod val="50000"/>
                  </a:schemeClr>
                </a:solidFill>
                <a:latin typeface="+mn-lt"/>
              </a:rPr>
              <a:t>Support</a:t>
            </a:r>
            <a:r>
              <a:rPr lang="en-US" dirty="0">
                <a:solidFill>
                  <a:schemeClr val="bg1">
                    <a:lumMod val="50000"/>
                  </a:schemeClr>
                </a:solidFill>
              </a:rPr>
              <a:t> Medal &amp; SLA</a:t>
            </a:r>
          </a:p>
        </p:txBody>
      </p:sp>
      <p:graphicFrame>
        <p:nvGraphicFramePr>
          <p:cNvPr id="3" name="Table 2">
            <a:extLst>
              <a:ext uri="{FF2B5EF4-FFF2-40B4-BE49-F238E27FC236}">
                <a16:creationId xmlns:a16="http://schemas.microsoft.com/office/drawing/2014/main" id="{EA859ACE-96FC-4EEF-BBB2-A67D40CDF277}"/>
              </a:ext>
            </a:extLst>
          </p:cNvPr>
          <p:cNvGraphicFramePr>
            <a:graphicFrameLocks noGrp="1"/>
          </p:cNvGraphicFramePr>
          <p:nvPr>
            <p:extLst>
              <p:ext uri="{D42A27DB-BD31-4B8C-83A1-F6EECF244321}">
                <p14:modId xmlns:p14="http://schemas.microsoft.com/office/powerpoint/2010/main" val="2626323443"/>
              </p:ext>
            </p:extLst>
          </p:nvPr>
        </p:nvGraphicFramePr>
        <p:xfrm>
          <a:off x="2166924" y="726997"/>
          <a:ext cx="12898031" cy="8604409"/>
        </p:xfrm>
        <a:graphic>
          <a:graphicData uri="http://schemas.openxmlformats.org/drawingml/2006/table">
            <a:tbl>
              <a:tblPr firstRow="1" bandRow="1">
                <a:tableStyleId>{5C22544A-7EE6-4342-B048-85BDC9FD1C3A}</a:tableStyleId>
              </a:tblPr>
              <a:tblGrid>
                <a:gridCol w="1411793">
                  <a:extLst>
                    <a:ext uri="{9D8B030D-6E8A-4147-A177-3AD203B41FA5}">
                      <a16:colId xmlns:a16="http://schemas.microsoft.com/office/drawing/2014/main" val="3670165841"/>
                    </a:ext>
                  </a:extLst>
                </a:gridCol>
                <a:gridCol w="5969110">
                  <a:extLst>
                    <a:ext uri="{9D8B030D-6E8A-4147-A177-3AD203B41FA5}">
                      <a16:colId xmlns:a16="http://schemas.microsoft.com/office/drawing/2014/main" val="2041863197"/>
                    </a:ext>
                  </a:extLst>
                </a:gridCol>
                <a:gridCol w="1530854">
                  <a:extLst>
                    <a:ext uri="{9D8B030D-6E8A-4147-A177-3AD203B41FA5}">
                      <a16:colId xmlns:a16="http://schemas.microsoft.com/office/drawing/2014/main" val="4104405011"/>
                    </a:ext>
                  </a:extLst>
                </a:gridCol>
                <a:gridCol w="1793198">
                  <a:extLst>
                    <a:ext uri="{9D8B030D-6E8A-4147-A177-3AD203B41FA5}">
                      <a16:colId xmlns:a16="http://schemas.microsoft.com/office/drawing/2014/main" val="820877824"/>
                    </a:ext>
                  </a:extLst>
                </a:gridCol>
                <a:gridCol w="2193076">
                  <a:extLst>
                    <a:ext uri="{9D8B030D-6E8A-4147-A177-3AD203B41FA5}">
                      <a16:colId xmlns:a16="http://schemas.microsoft.com/office/drawing/2014/main" val="156375867"/>
                    </a:ext>
                  </a:extLst>
                </a:gridCol>
              </a:tblGrid>
              <a:tr h="1290959">
                <a:tc>
                  <a:txBody>
                    <a:bodyPr/>
                    <a:lstStyle/>
                    <a:p>
                      <a:pPr algn="ctr"/>
                      <a:r>
                        <a:rPr lang="en-US" sz="2000" dirty="0">
                          <a:solidFill>
                            <a:schemeClr val="tx1">
                              <a:lumMod val="50000"/>
                              <a:lumOff val="50000"/>
                            </a:schemeClr>
                          </a:solidFill>
                        </a:rPr>
                        <a:t>Medal</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2000" dirty="0">
                          <a:solidFill>
                            <a:schemeClr val="tx1">
                              <a:lumMod val="50000"/>
                              <a:lumOff val="50000"/>
                            </a:schemeClr>
                          </a:solidFill>
                        </a:rPr>
                        <a:t>Description</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524792" rtl="0" eaLnBrk="1" fontAlgn="auto" latinLnBrk="0" hangingPunct="1">
                        <a:lnSpc>
                          <a:spcPct val="100000"/>
                        </a:lnSpc>
                        <a:spcBef>
                          <a:spcPts val="0"/>
                        </a:spcBef>
                        <a:spcAft>
                          <a:spcPts val="0"/>
                        </a:spcAft>
                        <a:buClrTx/>
                        <a:buSzTx/>
                        <a:buFontTx/>
                        <a:buNone/>
                        <a:tabLst/>
                        <a:defRPr/>
                      </a:pPr>
                      <a:r>
                        <a:rPr lang="en-US" sz="2000" dirty="0">
                          <a:solidFill>
                            <a:schemeClr val="tx1">
                              <a:lumMod val="50000"/>
                              <a:lumOff val="50000"/>
                            </a:schemeClr>
                          </a:solidFill>
                        </a:rPr>
                        <a:t>Priority</a:t>
                      </a:r>
                    </a:p>
                    <a:p>
                      <a:pPr algn="ctr"/>
                      <a:endParaRPr lang="en-US" sz="2000" dirty="0">
                        <a:solidFill>
                          <a:schemeClr val="tx1">
                            <a:lumMod val="50000"/>
                            <a:lumOff val="50000"/>
                          </a:schemeClr>
                        </a:solidFill>
                      </a:endParaRP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2000" dirty="0">
                          <a:solidFill>
                            <a:schemeClr val="tx1">
                              <a:lumMod val="50000"/>
                              <a:lumOff val="50000"/>
                            </a:schemeClr>
                          </a:solidFill>
                        </a:rPr>
                        <a:t>Response </a:t>
                      </a:r>
                    </a:p>
                    <a:p>
                      <a:pPr algn="ctr"/>
                      <a:r>
                        <a:rPr lang="en-US" sz="2000" dirty="0">
                          <a:solidFill>
                            <a:schemeClr val="tx1">
                              <a:lumMod val="50000"/>
                              <a:lumOff val="50000"/>
                            </a:schemeClr>
                          </a:solidFill>
                        </a:rPr>
                        <a:t>Time</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2000" dirty="0">
                          <a:solidFill>
                            <a:schemeClr val="tx1">
                              <a:lumMod val="50000"/>
                              <a:lumOff val="50000"/>
                            </a:schemeClr>
                          </a:solidFill>
                        </a:rPr>
                        <a:t>Resolution </a:t>
                      </a:r>
                    </a:p>
                    <a:p>
                      <a:pPr algn="ctr"/>
                      <a:r>
                        <a:rPr lang="en-US" sz="2000" dirty="0">
                          <a:solidFill>
                            <a:schemeClr val="tx1">
                              <a:lumMod val="50000"/>
                              <a:lumOff val="50000"/>
                            </a:schemeClr>
                          </a:solidFill>
                        </a:rPr>
                        <a:t>Time</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432303835"/>
                  </a:ext>
                </a:extLst>
              </a:tr>
              <a:tr h="559415">
                <a:tc rowSpan="4">
                  <a:txBody>
                    <a:bodyPr/>
                    <a:lstStyle/>
                    <a:p>
                      <a:endParaRPr lang="en-US" sz="2800" dirty="0"/>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4">
                  <a:txBody>
                    <a:bodyPr/>
                    <a:lstStyle/>
                    <a:p>
                      <a:r>
                        <a:rPr lang="en-US" sz="1800" dirty="0">
                          <a:solidFill>
                            <a:schemeClr val="tx1">
                              <a:lumMod val="75000"/>
                              <a:lumOff val="25000"/>
                            </a:schemeClr>
                          </a:solidFill>
                        </a:rPr>
                        <a:t>For critical business applications that require 24x7 support operations where any outage will result in an unacceptable impact to revenue, security or reputation. All P1 &amp; P2 incidents will be addressed 24x7 while P3 &amp; P4 incidents will be addressed during the normal business hours of the affected group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P1</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15 min.</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4 hour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14606860"/>
                  </a:ext>
                </a:extLst>
              </a:tr>
              <a:tr h="559416">
                <a:tc vMerge="1">
                  <a:txBody>
                    <a:bodyPr/>
                    <a:lstStyle/>
                    <a:p>
                      <a:endParaRPr lang="en-US"/>
                    </a:p>
                  </a:txBody>
                  <a:tcPr/>
                </a:tc>
                <a:tc vMerge="1">
                  <a:txBody>
                    <a:bodyPr/>
                    <a:lstStyle/>
                    <a:p>
                      <a:endParaRPr lang="en-US"/>
                    </a:p>
                  </a:txBody>
                  <a:tcPr/>
                </a:tc>
                <a:tc>
                  <a:txBody>
                    <a:bodyPr/>
                    <a:lstStyle/>
                    <a:p>
                      <a:pPr marL="0" marR="0" lvl="0" indent="0" algn="ctr" defTabSz="524792" rtl="0" eaLnBrk="1" fontAlgn="auto" latinLnBrk="0" hangingPunct="1">
                        <a:lnSpc>
                          <a:spcPct val="100000"/>
                        </a:lnSpc>
                        <a:spcBef>
                          <a:spcPts val="0"/>
                        </a:spcBef>
                        <a:spcAft>
                          <a:spcPts val="0"/>
                        </a:spcAft>
                        <a:buClrTx/>
                        <a:buSzTx/>
                        <a:buFontTx/>
                        <a:buNone/>
                        <a:tabLst/>
                        <a:defRPr/>
                      </a:pPr>
                      <a:r>
                        <a:rPr lang="en-US" sz="1800" dirty="0">
                          <a:solidFill>
                            <a:schemeClr val="tx1">
                              <a:lumMod val="75000"/>
                              <a:lumOff val="25000"/>
                            </a:schemeClr>
                          </a:solidFill>
                        </a:rPr>
                        <a:t>P2</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30 min.</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8 hour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40449087"/>
                  </a:ext>
                </a:extLst>
              </a:tr>
              <a:tr h="559415">
                <a:tc vMerge="1">
                  <a:txBody>
                    <a:bodyPr/>
                    <a:lstStyle/>
                    <a:p>
                      <a:endParaRPr lang="en-US"/>
                    </a:p>
                  </a:txBody>
                  <a:tcPr/>
                </a:tc>
                <a:tc vMerge="1">
                  <a:txBody>
                    <a:bodyPr/>
                    <a:lstStyle/>
                    <a:p>
                      <a:endParaRPr lang="en-US"/>
                    </a:p>
                  </a:txBody>
                  <a:tcPr/>
                </a:tc>
                <a:tc>
                  <a:txBody>
                    <a:bodyPr/>
                    <a:lstStyle/>
                    <a:p>
                      <a:pPr algn="ctr"/>
                      <a:r>
                        <a:rPr lang="en-US" sz="1800" dirty="0">
                          <a:solidFill>
                            <a:schemeClr val="tx1">
                              <a:lumMod val="75000"/>
                              <a:lumOff val="25000"/>
                            </a:schemeClr>
                          </a:solidFill>
                        </a:rPr>
                        <a:t>P3</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2 hour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3 bus. day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60019455"/>
                  </a:ext>
                </a:extLst>
              </a:tr>
              <a:tr h="774575">
                <a:tc vMerge="1">
                  <a:txBody>
                    <a:bodyPr/>
                    <a:lstStyle/>
                    <a:p>
                      <a:endParaRPr lang="en-US"/>
                    </a:p>
                  </a:txBody>
                  <a:tcPr>
                    <a:lnT w="12700" cap="flat" cmpd="sng" algn="ctr">
                      <a:solidFill>
                        <a:schemeClr val="tx1"/>
                      </a:solidFill>
                      <a:prstDash val="solid"/>
                      <a:round/>
                      <a:headEnd type="none" w="med" len="med"/>
                      <a:tailEnd type="none" w="med" len="med"/>
                    </a:lnT>
                  </a:tcPr>
                </a:tc>
                <a:tc vMerge="1">
                  <a:txBody>
                    <a:bodyPr/>
                    <a:lstStyle/>
                    <a:p>
                      <a:endParaRPr lang="en-US"/>
                    </a:p>
                  </a:txBody>
                  <a:tcPr>
                    <a:lnT w="12700" cap="flat" cmpd="sng" algn="ctr">
                      <a:solidFill>
                        <a:schemeClr val="tx1"/>
                      </a:solidFill>
                      <a:prstDash val="solid"/>
                      <a:round/>
                      <a:headEnd type="none" w="med" len="med"/>
                      <a:tailEnd type="none" w="med" len="med"/>
                    </a:lnT>
                  </a:tcPr>
                </a:tc>
                <a:tc>
                  <a:txBody>
                    <a:bodyPr/>
                    <a:lstStyle/>
                    <a:p>
                      <a:pPr algn="ctr"/>
                      <a:r>
                        <a:rPr lang="en-US" sz="1800" dirty="0">
                          <a:solidFill>
                            <a:schemeClr val="tx1">
                              <a:lumMod val="75000"/>
                              <a:lumOff val="25000"/>
                            </a:schemeClr>
                          </a:solidFill>
                        </a:rPr>
                        <a:t>P4</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4 hour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3 bus. day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3735259"/>
                  </a:ext>
                </a:extLst>
              </a:tr>
              <a:tr h="559415">
                <a:tc rowSpan="4">
                  <a:txBody>
                    <a:bodyPr/>
                    <a:lstStyle/>
                    <a:p>
                      <a:endParaRPr lang="en-US" sz="2800" dirty="0"/>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4">
                  <a:txBody>
                    <a:bodyPr/>
                    <a:lstStyle/>
                    <a:p>
                      <a:pPr marL="0" marR="0" lvl="0" indent="0" algn="l" defTabSz="524792" rtl="0" eaLnBrk="1" fontAlgn="auto" latinLnBrk="0" hangingPunct="1">
                        <a:lnSpc>
                          <a:spcPct val="100000"/>
                        </a:lnSpc>
                        <a:spcBef>
                          <a:spcPts val="0"/>
                        </a:spcBef>
                        <a:spcAft>
                          <a:spcPts val="0"/>
                        </a:spcAft>
                        <a:buClrTx/>
                        <a:buSzTx/>
                        <a:buFontTx/>
                        <a:buNone/>
                        <a:tabLst/>
                        <a:defRPr/>
                      </a:pPr>
                      <a:r>
                        <a:rPr lang="en-US" sz="1800" dirty="0">
                          <a:solidFill>
                            <a:schemeClr val="tx1">
                              <a:lumMod val="75000"/>
                              <a:lumOff val="25000"/>
                            </a:schemeClr>
                          </a:solidFill>
                        </a:rPr>
                        <a:t>For most business applications where any outage will result in an impact to revenue, security or reputation. All P1 &amp; P2 incidents will be addressed 24x5 while P3 &amp; P4 incidents will be addressed during the normal business hours of the affected groups.</a:t>
                      </a:r>
                    </a:p>
                    <a:p>
                      <a:endParaRPr lang="en-US" sz="2800" dirty="0">
                        <a:solidFill>
                          <a:schemeClr val="tx1">
                            <a:lumMod val="75000"/>
                            <a:lumOff val="25000"/>
                          </a:schemeClr>
                        </a:solidFill>
                      </a:endParaRP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P1</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15 min.</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4 hour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50381912"/>
                  </a:ext>
                </a:extLst>
              </a:tr>
              <a:tr h="564784">
                <a:tc vMerge="1">
                  <a:txBody>
                    <a:bodyPr/>
                    <a:lstStyle/>
                    <a:p>
                      <a:endParaRPr lang="en-US"/>
                    </a:p>
                  </a:txBody>
                  <a:tcPr/>
                </a:tc>
                <a:tc vMerge="1">
                  <a:txBody>
                    <a:bodyPr/>
                    <a:lstStyle/>
                    <a:p>
                      <a:endParaRPr lang="en-US"/>
                    </a:p>
                  </a:txBody>
                  <a:tcPr/>
                </a:tc>
                <a:tc>
                  <a:txBody>
                    <a:bodyPr/>
                    <a:lstStyle/>
                    <a:p>
                      <a:pPr marL="0" marR="0" lvl="0" indent="0" algn="ctr" defTabSz="524792" rtl="0" eaLnBrk="1" fontAlgn="auto" latinLnBrk="0" hangingPunct="1">
                        <a:lnSpc>
                          <a:spcPct val="100000"/>
                        </a:lnSpc>
                        <a:spcBef>
                          <a:spcPts val="0"/>
                        </a:spcBef>
                        <a:spcAft>
                          <a:spcPts val="0"/>
                        </a:spcAft>
                        <a:buClrTx/>
                        <a:buSzTx/>
                        <a:buFontTx/>
                        <a:buNone/>
                        <a:tabLst/>
                        <a:defRPr/>
                      </a:pPr>
                      <a:r>
                        <a:rPr lang="en-US" sz="1800" dirty="0">
                          <a:solidFill>
                            <a:schemeClr val="tx1">
                              <a:lumMod val="75000"/>
                              <a:lumOff val="25000"/>
                            </a:schemeClr>
                          </a:solidFill>
                        </a:rPr>
                        <a:t>P2</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30 min.</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8 hour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68523944"/>
                  </a:ext>
                </a:extLst>
              </a:tr>
              <a:tr h="599763">
                <a:tc vMerge="1">
                  <a:txBody>
                    <a:bodyPr/>
                    <a:lstStyle/>
                    <a:p>
                      <a:endParaRPr lang="en-US"/>
                    </a:p>
                  </a:txBody>
                  <a:tcPr/>
                </a:tc>
                <a:tc vMerge="1">
                  <a:txBody>
                    <a:bodyPr/>
                    <a:lstStyle/>
                    <a:p>
                      <a:endParaRPr lang="en-US"/>
                    </a:p>
                  </a:txBody>
                  <a:tcPr/>
                </a:tc>
                <a:tc>
                  <a:txBody>
                    <a:bodyPr/>
                    <a:lstStyle/>
                    <a:p>
                      <a:pPr algn="ctr"/>
                      <a:r>
                        <a:rPr lang="en-US" sz="1800" dirty="0">
                          <a:solidFill>
                            <a:schemeClr val="tx1">
                              <a:lumMod val="75000"/>
                              <a:lumOff val="25000"/>
                            </a:schemeClr>
                          </a:solidFill>
                        </a:rPr>
                        <a:t>P3</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4 hour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5 bus. day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92126939"/>
                  </a:ext>
                </a:extLst>
              </a:tr>
              <a:tr h="599764">
                <a:tc vMerge="1">
                  <a:txBody>
                    <a:bodyPr/>
                    <a:lstStyle/>
                    <a:p>
                      <a:endParaRPr lang="en-US"/>
                    </a:p>
                  </a:txBody>
                  <a:tcPr/>
                </a:tc>
                <a:tc vMerge="1">
                  <a:txBody>
                    <a:bodyPr/>
                    <a:lstStyle/>
                    <a:p>
                      <a:endParaRPr lang="en-US"/>
                    </a:p>
                  </a:txBody>
                  <a:tcPr/>
                </a:tc>
                <a:tc>
                  <a:txBody>
                    <a:bodyPr/>
                    <a:lstStyle/>
                    <a:p>
                      <a:pPr algn="ctr"/>
                      <a:r>
                        <a:rPr lang="en-US" sz="1800" dirty="0">
                          <a:solidFill>
                            <a:schemeClr val="tx1">
                              <a:lumMod val="75000"/>
                              <a:lumOff val="25000"/>
                            </a:schemeClr>
                          </a:solidFill>
                        </a:rPr>
                        <a:t>P4</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8 hour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10 bus. day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2641628"/>
                  </a:ext>
                </a:extLst>
              </a:tr>
              <a:tr h="559415">
                <a:tc rowSpan="4">
                  <a:txBody>
                    <a:bodyPr/>
                    <a:lstStyle/>
                    <a:p>
                      <a:endParaRPr lang="en-US" sz="2800" dirty="0"/>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4">
                  <a:txBody>
                    <a:bodyPr/>
                    <a:lstStyle/>
                    <a:p>
                      <a:pPr marL="0" marR="0" lvl="0" indent="0" algn="l" defTabSz="524792" rtl="0" eaLnBrk="1" fontAlgn="auto" latinLnBrk="0" hangingPunct="1">
                        <a:lnSpc>
                          <a:spcPct val="100000"/>
                        </a:lnSpc>
                        <a:spcBef>
                          <a:spcPts val="0"/>
                        </a:spcBef>
                        <a:spcAft>
                          <a:spcPts val="0"/>
                        </a:spcAft>
                        <a:buClrTx/>
                        <a:buSzTx/>
                        <a:buFontTx/>
                        <a:buNone/>
                        <a:tabLst/>
                        <a:defRPr/>
                      </a:pPr>
                      <a:r>
                        <a:rPr lang="en-US" sz="1800" dirty="0">
                          <a:solidFill>
                            <a:schemeClr val="tx1">
                              <a:lumMod val="75000"/>
                              <a:lumOff val="25000"/>
                            </a:schemeClr>
                          </a:solidFill>
                        </a:rPr>
                        <a:t>For non-critical business applications where business could still be conducted or workarounds to functionality could be managed. Standard business operating hours would cover up to 12h/day, Monday - Friday following the application end-user’s regional standard. Outside of this operations window, support will be provided on a best effort basis. </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P1</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gridSpan="2">
                  <a:txBody>
                    <a:bodyPr/>
                    <a:lstStyle/>
                    <a:p>
                      <a:pPr algn="ctr"/>
                      <a:endParaRPr lang="en-US" sz="1800" dirty="0">
                        <a:solidFill>
                          <a:schemeClr val="tx1">
                            <a:lumMod val="75000"/>
                            <a:lumOff val="25000"/>
                          </a:schemeClr>
                        </a:solidFill>
                      </a:endParaRPr>
                    </a:p>
                    <a:p>
                      <a:pPr algn="ctr"/>
                      <a:r>
                        <a:rPr lang="en-US" sz="1800" dirty="0">
                          <a:solidFill>
                            <a:schemeClr val="tx1">
                              <a:lumMod val="75000"/>
                              <a:lumOff val="25000"/>
                            </a:schemeClr>
                          </a:solidFill>
                        </a:rPr>
                        <a:t>Not Applicable</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hMerge="1">
                  <a:txBody>
                    <a:bodyPr/>
                    <a:lstStyle/>
                    <a:p>
                      <a:pPr algn="ct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100446"/>
                  </a:ext>
                </a:extLst>
              </a:tr>
              <a:tr h="559415">
                <a:tc vMerge="1">
                  <a:txBody>
                    <a:bodyPr/>
                    <a:lstStyle/>
                    <a:p>
                      <a:endParaRPr lang="en-US"/>
                    </a:p>
                  </a:txBody>
                  <a:tcPr/>
                </a:tc>
                <a:tc vMerge="1">
                  <a:txBody>
                    <a:bodyPr/>
                    <a:lstStyle/>
                    <a:p>
                      <a:endParaRPr lang="en-US"/>
                    </a:p>
                  </a:txBody>
                  <a:tcPr/>
                </a:tc>
                <a:tc>
                  <a:txBody>
                    <a:bodyPr/>
                    <a:lstStyle/>
                    <a:p>
                      <a:pPr marL="0" marR="0" lvl="0" indent="0" algn="ctr" defTabSz="524792" rtl="0" eaLnBrk="1" fontAlgn="auto" latinLnBrk="0" hangingPunct="1">
                        <a:lnSpc>
                          <a:spcPct val="100000"/>
                        </a:lnSpc>
                        <a:spcBef>
                          <a:spcPts val="0"/>
                        </a:spcBef>
                        <a:spcAft>
                          <a:spcPts val="0"/>
                        </a:spcAft>
                        <a:buClrTx/>
                        <a:buSzTx/>
                        <a:buFontTx/>
                        <a:buNone/>
                        <a:tabLst/>
                        <a:defRPr/>
                      </a:pPr>
                      <a:r>
                        <a:rPr lang="en-US" sz="1800" dirty="0">
                          <a:solidFill>
                            <a:schemeClr val="tx1">
                              <a:lumMod val="75000"/>
                              <a:lumOff val="25000"/>
                            </a:schemeClr>
                          </a:solidFill>
                        </a:rPr>
                        <a:t>P2</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vMerge="1">
                  <a:txBody>
                    <a:bodyPr/>
                    <a:lstStyle/>
                    <a:p>
                      <a:pPr algn="ctr"/>
                      <a:endParaRPr lang="en-US"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vMerge="1">
                  <a:txBody>
                    <a:bodyPr/>
                    <a:lstStyle/>
                    <a:p>
                      <a:endParaRPr lang="en-US"/>
                    </a:p>
                  </a:txBody>
                  <a:tcPr/>
                </a:tc>
                <a:extLst>
                  <a:ext uri="{0D108BD9-81ED-4DB2-BD59-A6C34878D82A}">
                    <a16:rowId xmlns:a16="http://schemas.microsoft.com/office/drawing/2014/main" val="3601997156"/>
                  </a:ext>
                </a:extLst>
              </a:tr>
              <a:tr h="587312">
                <a:tc vMerge="1">
                  <a:txBody>
                    <a:bodyPr/>
                    <a:lstStyle/>
                    <a:p>
                      <a:endParaRPr lang="en-US"/>
                    </a:p>
                  </a:txBody>
                  <a:tcPr/>
                </a:tc>
                <a:tc vMerge="1">
                  <a:txBody>
                    <a:bodyPr/>
                    <a:lstStyle/>
                    <a:p>
                      <a:endParaRPr lang="en-US"/>
                    </a:p>
                  </a:txBody>
                  <a:tcPr/>
                </a:tc>
                <a:tc>
                  <a:txBody>
                    <a:bodyPr/>
                    <a:lstStyle/>
                    <a:p>
                      <a:pPr algn="ctr"/>
                      <a:r>
                        <a:rPr lang="en-US" sz="1800" dirty="0">
                          <a:solidFill>
                            <a:schemeClr val="tx1">
                              <a:lumMod val="75000"/>
                              <a:lumOff val="25000"/>
                            </a:schemeClr>
                          </a:solidFill>
                        </a:rPr>
                        <a:t>P3</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8 hour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10 bus. day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43970107"/>
                  </a:ext>
                </a:extLst>
              </a:tr>
              <a:tr h="830761">
                <a:tc vMerge="1">
                  <a:txBody>
                    <a:bodyPr/>
                    <a:lstStyle/>
                    <a:p>
                      <a:endParaRPr lang="en-US"/>
                    </a:p>
                  </a:txBody>
                  <a:tcPr/>
                </a:tc>
                <a:tc vMerge="1">
                  <a:txBody>
                    <a:bodyPr/>
                    <a:lstStyle/>
                    <a:p>
                      <a:endParaRPr lang="en-US"/>
                    </a:p>
                  </a:txBody>
                  <a:tcPr/>
                </a:tc>
                <a:tc>
                  <a:txBody>
                    <a:bodyPr/>
                    <a:lstStyle/>
                    <a:p>
                      <a:pPr algn="ctr"/>
                      <a:r>
                        <a:rPr lang="en-US" sz="1800" dirty="0">
                          <a:solidFill>
                            <a:schemeClr val="tx1">
                              <a:lumMod val="75000"/>
                              <a:lumOff val="25000"/>
                            </a:schemeClr>
                          </a:solidFill>
                        </a:rPr>
                        <a:t>P4</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12 hour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lumMod val="75000"/>
                              <a:lumOff val="25000"/>
                            </a:schemeClr>
                          </a:solidFill>
                        </a:rPr>
                        <a:t>15 bus. days</a:t>
                      </a:r>
                    </a:p>
                  </a:txBody>
                  <a:tcPr marL="134112" marR="134112" marT="67056" marB="6705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09211518"/>
                  </a:ext>
                </a:extLst>
              </a:tr>
            </a:tbl>
          </a:graphicData>
        </a:graphic>
      </p:graphicFrame>
      <p:pic>
        <p:nvPicPr>
          <p:cNvPr id="4" name="Picture 3">
            <a:extLst>
              <a:ext uri="{FF2B5EF4-FFF2-40B4-BE49-F238E27FC236}">
                <a16:creationId xmlns:a16="http://schemas.microsoft.com/office/drawing/2014/main" id="{20F97DC5-F60F-4600-A20E-0FA256B33AFE}"/>
              </a:ext>
            </a:extLst>
          </p:cNvPr>
          <p:cNvPicPr>
            <a:picLocks noChangeAspect="1"/>
          </p:cNvPicPr>
          <p:nvPr/>
        </p:nvPicPr>
        <p:blipFill>
          <a:blip r:embed="rId2"/>
          <a:stretch>
            <a:fillRect/>
          </a:stretch>
        </p:blipFill>
        <p:spPr>
          <a:xfrm>
            <a:off x="2327255" y="2359288"/>
            <a:ext cx="947757" cy="1433194"/>
          </a:xfrm>
          <a:prstGeom prst="rect">
            <a:avLst/>
          </a:prstGeom>
        </p:spPr>
      </p:pic>
      <p:pic>
        <p:nvPicPr>
          <p:cNvPr id="6" name="Picture 5">
            <a:extLst>
              <a:ext uri="{FF2B5EF4-FFF2-40B4-BE49-F238E27FC236}">
                <a16:creationId xmlns:a16="http://schemas.microsoft.com/office/drawing/2014/main" id="{E13F26B5-5783-4E65-8079-81D033DD8F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7255" y="4773451"/>
            <a:ext cx="947757" cy="1492468"/>
          </a:xfrm>
          <a:prstGeom prst="rect">
            <a:avLst/>
          </a:prstGeom>
        </p:spPr>
      </p:pic>
      <p:pic>
        <p:nvPicPr>
          <p:cNvPr id="7" name="Picture 6">
            <a:extLst>
              <a:ext uri="{FF2B5EF4-FFF2-40B4-BE49-F238E27FC236}">
                <a16:creationId xmlns:a16="http://schemas.microsoft.com/office/drawing/2014/main" id="{CA0560CE-BE67-4D7D-9574-3EE1644CB8D9}"/>
              </a:ext>
            </a:extLst>
          </p:cNvPr>
          <p:cNvPicPr>
            <a:picLocks noChangeAspect="1"/>
          </p:cNvPicPr>
          <p:nvPr/>
        </p:nvPicPr>
        <p:blipFill>
          <a:blip r:embed="rId4"/>
          <a:stretch>
            <a:fillRect/>
          </a:stretch>
        </p:blipFill>
        <p:spPr>
          <a:xfrm>
            <a:off x="2445126" y="7246888"/>
            <a:ext cx="966363" cy="1586344"/>
          </a:xfrm>
          <a:prstGeom prst="rect">
            <a:avLst/>
          </a:prstGeom>
        </p:spPr>
      </p:pic>
    </p:spTree>
    <p:extLst>
      <p:ext uri="{BB962C8B-B14F-4D97-AF65-F5344CB8AC3E}">
        <p14:creationId xmlns:p14="http://schemas.microsoft.com/office/powerpoint/2010/main" val="41940288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B3BD7-7CA0-4A53-A8A6-522C56444758}"/>
              </a:ext>
            </a:extLst>
          </p:cNvPr>
          <p:cNvSpPr>
            <a:spLocks noGrp="1"/>
          </p:cNvSpPr>
          <p:nvPr>
            <p:ph type="title"/>
          </p:nvPr>
        </p:nvSpPr>
        <p:spPr>
          <a:xfrm>
            <a:off x="640080" y="230900"/>
            <a:ext cx="16093440" cy="782320"/>
          </a:xfrm>
        </p:spPr>
        <p:txBody>
          <a:bodyPr>
            <a:normAutofit fontScale="90000"/>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pPr algn="ctr"/>
            <a:r>
              <a:rPr lang="en-US" dirty="0">
                <a:solidFill>
                  <a:schemeClr val="bg1">
                    <a:lumMod val="50000"/>
                  </a:schemeClr>
                </a:solidFill>
                <a:latin typeface="+mn-lt"/>
              </a:rPr>
              <a:t>Annual Operational Costs</a:t>
            </a:r>
          </a:p>
        </p:txBody>
      </p:sp>
      <p:graphicFrame>
        <p:nvGraphicFramePr>
          <p:cNvPr id="40" name="Table 39">
            <a:extLst>
              <a:ext uri="{FF2B5EF4-FFF2-40B4-BE49-F238E27FC236}">
                <a16:creationId xmlns:a16="http://schemas.microsoft.com/office/drawing/2014/main" id="{7076BFDE-9676-44DA-A7D4-341A56430FD6}"/>
              </a:ext>
            </a:extLst>
          </p:cNvPr>
          <p:cNvGraphicFramePr>
            <a:graphicFrameLocks noGrp="1"/>
          </p:cNvGraphicFramePr>
          <p:nvPr>
            <p:extLst>
              <p:ext uri="{D42A27DB-BD31-4B8C-83A1-F6EECF244321}">
                <p14:modId xmlns:p14="http://schemas.microsoft.com/office/powerpoint/2010/main" val="3431835897"/>
              </p:ext>
            </p:extLst>
          </p:nvPr>
        </p:nvGraphicFramePr>
        <p:xfrm>
          <a:off x="640080" y="4021843"/>
          <a:ext cx="15804110" cy="3981375"/>
        </p:xfrm>
        <a:graphic>
          <a:graphicData uri="http://schemas.openxmlformats.org/drawingml/2006/table">
            <a:tbl>
              <a:tblPr>
                <a:tableStyleId>{5C22544A-7EE6-4342-B048-85BDC9FD1C3A}</a:tableStyleId>
              </a:tblPr>
              <a:tblGrid>
                <a:gridCol w="1112141">
                  <a:extLst>
                    <a:ext uri="{9D8B030D-6E8A-4147-A177-3AD203B41FA5}">
                      <a16:colId xmlns:a16="http://schemas.microsoft.com/office/drawing/2014/main" val="1458293013"/>
                    </a:ext>
                  </a:extLst>
                </a:gridCol>
                <a:gridCol w="1037230">
                  <a:extLst>
                    <a:ext uri="{9D8B030D-6E8A-4147-A177-3AD203B41FA5}">
                      <a16:colId xmlns:a16="http://schemas.microsoft.com/office/drawing/2014/main" val="2431545241"/>
                    </a:ext>
                  </a:extLst>
                </a:gridCol>
                <a:gridCol w="1203015">
                  <a:extLst>
                    <a:ext uri="{9D8B030D-6E8A-4147-A177-3AD203B41FA5}">
                      <a16:colId xmlns:a16="http://schemas.microsoft.com/office/drawing/2014/main" val="3948888098"/>
                    </a:ext>
                  </a:extLst>
                </a:gridCol>
                <a:gridCol w="1277100">
                  <a:extLst>
                    <a:ext uri="{9D8B030D-6E8A-4147-A177-3AD203B41FA5}">
                      <a16:colId xmlns:a16="http://schemas.microsoft.com/office/drawing/2014/main" val="215708923"/>
                    </a:ext>
                  </a:extLst>
                </a:gridCol>
                <a:gridCol w="1277100">
                  <a:extLst>
                    <a:ext uri="{9D8B030D-6E8A-4147-A177-3AD203B41FA5}">
                      <a16:colId xmlns:a16="http://schemas.microsoft.com/office/drawing/2014/main" val="2023212292"/>
                    </a:ext>
                  </a:extLst>
                </a:gridCol>
                <a:gridCol w="319275">
                  <a:extLst>
                    <a:ext uri="{9D8B030D-6E8A-4147-A177-3AD203B41FA5}">
                      <a16:colId xmlns:a16="http://schemas.microsoft.com/office/drawing/2014/main" val="2874407476"/>
                    </a:ext>
                  </a:extLst>
                </a:gridCol>
                <a:gridCol w="798187">
                  <a:extLst>
                    <a:ext uri="{9D8B030D-6E8A-4147-A177-3AD203B41FA5}">
                      <a16:colId xmlns:a16="http://schemas.microsoft.com/office/drawing/2014/main" val="1903585692"/>
                    </a:ext>
                  </a:extLst>
                </a:gridCol>
                <a:gridCol w="1277100">
                  <a:extLst>
                    <a:ext uri="{9D8B030D-6E8A-4147-A177-3AD203B41FA5}">
                      <a16:colId xmlns:a16="http://schemas.microsoft.com/office/drawing/2014/main" val="1234642565"/>
                    </a:ext>
                  </a:extLst>
                </a:gridCol>
                <a:gridCol w="1277100">
                  <a:extLst>
                    <a:ext uri="{9D8B030D-6E8A-4147-A177-3AD203B41FA5}">
                      <a16:colId xmlns:a16="http://schemas.microsoft.com/office/drawing/2014/main" val="474544171"/>
                    </a:ext>
                  </a:extLst>
                </a:gridCol>
                <a:gridCol w="1277100">
                  <a:extLst>
                    <a:ext uri="{9D8B030D-6E8A-4147-A177-3AD203B41FA5}">
                      <a16:colId xmlns:a16="http://schemas.microsoft.com/office/drawing/2014/main" val="2558206381"/>
                    </a:ext>
                  </a:extLst>
                </a:gridCol>
                <a:gridCol w="319275">
                  <a:extLst>
                    <a:ext uri="{9D8B030D-6E8A-4147-A177-3AD203B41FA5}">
                      <a16:colId xmlns:a16="http://schemas.microsoft.com/office/drawing/2014/main" val="2450415648"/>
                    </a:ext>
                  </a:extLst>
                </a:gridCol>
                <a:gridCol w="798187">
                  <a:extLst>
                    <a:ext uri="{9D8B030D-6E8A-4147-A177-3AD203B41FA5}">
                      <a16:colId xmlns:a16="http://schemas.microsoft.com/office/drawing/2014/main" val="1332416226"/>
                    </a:ext>
                  </a:extLst>
                </a:gridCol>
                <a:gridCol w="1277100">
                  <a:extLst>
                    <a:ext uri="{9D8B030D-6E8A-4147-A177-3AD203B41FA5}">
                      <a16:colId xmlns:a16="http://schemas.microsoft.com/office/drawing/2014/main" val="438870946"/>
                    </a:ext>
                  </a:extLst>
                </a:gridCol>
                <a:gridCol w="1277100">
                  <a:extLst>
                    <a:ext uri="{9D8B030D-6E8A-4147-A177-3AD203B41FA5}">
                      <a16:colId xmlns:a16="http://schemas.microsoft.com/office/drawing/2014/main" val="4100502935"/>
                    </a:ext>
                  </a:extLst>
                </a:gridCol>
                <a:gridCol w="1277100">
                  <a:extLst>
                    <a:ext uri="{9D8B030D-6E8A-4147-A177-3AD203B41FA5}">
                      <a16:colId xmlns:a16="http://schemas.microsoft.com/office/drawing/2014/main" val="3159010070"/>
                    </a:ext>
                  </a:extLst>
                </a:gridCol>
              </a:tblGrid>
              <a:tr h="873081">
                <a:tc gridSpan="2">
                  <a:txBody>
                    <a:bodyPr/>
                    <a:lstStyle/>
                    <a:p>
                      <a:pPr algn="ctr" fontAlgn="b"/>
                      <a:r>
                        <a:rPr lang="en-US" sz="2400" b="1" i="1" u="none" strike="noStrike" dirty="0">
                          <a:solidFill>
                            <a:schemeClr val="accent6">
                              <a:lumMod val="75000"/>
                            </a:schemeClr>
                          </a:solidFill>
                          <a:effectLst/>
                          <a:latin typeface="Calibri" panose="020F0502020204030204" pitchFamily="34" charset="0"/>
                        </a:rPr>
                        <a:t>Complexit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endParaRPr lang="en-US"/>
                    </a:p>
                  </a:txBody>
                  <a:tcPr/>
                </a:tc>
                <a:tc gridSpan="3">
                  <a:txBody>
                    <a:bodyPr/>
                    <a:lstStyle/>
                    <a:p>
                      <a:r>
                        <a:rPr lang="en-US" sz="2800" b="1" u="none" strike="noStrike" dirty="0">
                          <a:effectLst/>
                        </a:rPr>
                        <a:t>               Simple</a:t>
                      </a:r>
                      <a:endParaRPr lang="en-US" dirty="0"/>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endParaRPr lang="en-US"/>
                    </a:p>
                  </a:txBody>
                  <a:tcPr>
                    <a:lnL w="12700" cmpd="sng">
                      <a:noFill/>
                    </a:lnL>
                  </a:tcPr>
                </a:tc>
                <a:tc hMerge="1">
                  <a:txBody>
                    <a:bodyPr/>
                    <a:lstStyle/>
                    <a:p>
                      <a:endParaRPr lang="en-US"/>
                    </a:p>
                  </a:txBody>
                  <a:tcPr/>
                </a:tc>
                <a:tc>
                  <a:txBody>
                    <a:bodyPr/>
                    <a:lstStyle/>
                    <a:p>
                      <a:pPr algn="ctr" fontAlgn="b"/>
                      <a:endParaRPr lang="en-US" sz="2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gridSpan="4">
                  <a:txBody>
                    <a:bodyPr/>
                    <a:lstStyle/>
                    <a:p>
                      <a:pPr algn="ctr" fontAlgn="b"/>
                      <a:r>
                        <a:rPr lang="en-US" sz="2800" b="1" u="none" strike="noStrike" dirty="0">
                          <a:effectLst/>
                        </a:rPr>
                        <a:t>          Medium</a:t>
                      </a:r>
                      <a:endParaRPr lang="en-US" sz="2800" b="1" i="0" u="none" strike="noStrike" dirty="0">
                        <a:solidFill>
                          <a:srgbClr val="FFFFFF"/>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tc>
                <a:tc>
                  <a:txBody>
                    <a:bodyPr/>
                    <a:lstStyle/>
                    <a:p>
                      <a:pPr algn="ctr" fontAlgn="b"/>
                      <a:endParaRPr lang="en-US" sz="2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gridSpan="4">
                  <a:txBody>
                    <a:bodyPr/>
                    <a:lstStyle/>
                    <a:p>
                      <a:pPr algn="ctr" fontAlgn="b"/>
                      <a:r>
                        <a:rPr lang="en-US" sz="2800" b="1" u="none" strike="noStrike" dirty="0">
                          <a:effectLst/>
                        </a:rPr>
                        <a:t>        Complex</a:t>
                      </a:r>
                      <a:endParaRPr lang="en-US" sz="2800" b="1" i="0" u="none" strike="noStrike" dirty="0">
                        <a:solidFill>
                          <a:srgbClr val="FFFFFF"/>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89223554"/>
                  </a:ext>
                </a:extLst>
              </a:tr>
              <a:tr h="426716">
                <a:tc gridSpan="2">
                  <a:txBody>
                    <a:bodyPr/>
                    <a:lstStyle/>
                    <a:p>
                      <a:pPr algn="ctr" fontAlgn="b"/>
                      <a:r>
                        <a:rPr lang="en-US" sz="1800" b="1" i="0" u="none" strike="noStrike" dirty="0">
                          <a:solidFill>
                            <a:srgbClr val="000000"/>
                          </a:solidFill>
                          <a:effectLst/>
                          <a:latin typeface="Calibri" panose="020F0502020204030204" pitchFamily="34" charset="0"/>
                        </a:rPr>
                        <a:t>Per Bot Cos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gridSpan="13">
                  <a:txBody>
                    <a:bodyPr/>
                    <a:lstStyle/>
                    <a:p>
                      <a:pPr algn="ctr" fontAlgn="b"/>
                      <a:endParaRPr lang="en-US" sz="24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lToBr w="12700" cmpd="sng">
                      <a:noFill/>
                      <a:prstDash val="solid"/>
                    </a:lnTlToBr>
                    <a:lnBlToTr w="12700" cmpd="sng">
                      <a:noFill/>
                      <a:prstDash val="solid"/>
                    </a:lnBlToTr>
                    <a:solidFill>
                      <a:schemeClr val="bg1">
                        <a:lumMod val="95000"/>
                      </a:schemeClr>
                    </a:solidFill>
                  </a:tcPr>
                </a:tc>
                <a:tc hMerge="1">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hMerge="1">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hMerge="1">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hMerge="1">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lToBr w="12700" cmpd="sng">
                      <a:noFill/>
                      <a:prstDash val="solid"/>
                    </a:lnTlToBr>
                    <a:lnBlToTr w="12700" cmpd="sng">
                      <a:noFill/>
                      <a:prstDash val="solid"/>
                    </a:lnBlToTr>
                    <a:solidFill>
                      <a:schemeClr val="bg1">
                        <a:lumMod val="95000"/>
                      </a:schemeClr>
                    </a:solidFill>
                  </a:tcPr>
                </a:tc>
                <a:tc hMerge="1">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hMerge="1">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hMerge="1">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hMerge="1">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hMerge="1">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lToBr w="12700" cmpd="sng">
                      <a:noFill/>
                      <a:prstDash val="solid"/>
                    </a:lnTlToBr>
                    <a:lnBlToTr w="12700" cmpd="sng">
                      <a:noFill/>
                      <a:prstDash val="solid"/>
                    </a:lnBlToTr>
                    <a:solidFill>
                      <a:schemeClr val="bg1">
                        <a:lumMod val="95000"/>
                      </a:schemeClr>
                    </a:solidFill>
                  </a:tcPr>
                </a:tc>
                <a:tc hMerge="1">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hMerge="1">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87689116"/>
                  </a:ext>
                </a:extLst>
              </a:tr>
              <a:tr h="873081">
                <a:tc>
                  <a:txBody>
                    <a:bodyPr/>
                    <a:lstStyle/>
                    <a:p>
                      <a:pPr algn="r" fontAlgn="b"/>
                      <a:r>
                        <a:rPr lang="en-US" sz="1800" b="1" u="none" strike="noStrike" dirty="0">
                          <a:effectLst/>
                        </a:rPr>
                        <a:t># of Bots</a:t>
                      </a: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en-US" sz="1800" b="1" u="none" strike="noStrike" dirty="0">
                          <a:effectLst/>
                        </a:rPr>
                        <a:t>Bot Cost</a:t>
                      </a: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en-US" sz="1800" b="1" u="none" strike="noStrike" dirty="0">
                          <a:solidFill>
                            <a:srgbClr val="CC6600"/>
                          </a:solidFill>
                          <a:effectLst/>
                        </a:rPr>
                        <a:t>Bronze</a:t>
                      </a:r>
                      <a:br>
                        <a:rPr lang="en-US" sz="1800" b="1" u="none" strike="noStrike" dirty="0">
                          <a:effectLst/>
                        </a:rPr>
                      </a:br>
                      <a:r>
                        <a:rPr lang="en-US" sz="1800" b="1" u="none" strike="noStrike" dirty="0">
                          <a:effectLst/>
                        </a:rPr>
                        <a:t>(8x5) </a:t>
                      </a: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n-US" sz="1800" b="1" u="none" strike="noStrike" dirty="0">
                          <a:solidFill>
                            <a:schemeClr val="accent6">
                              <a:lumMod val="75000"/>
                            </a:schemeClr>
                          </a:solidFill>
                          <a:effectLst/>
                        </a:rPr>
                        <a:t>Silver</a:t>
                      </a:r>
                      <a:br>
                        <a:rPr lang="en-US" sz="1800" b="1" u="none" strike="noStrike" dirty="0">
                          <a:effectLst/>
                        </a:rPr>
                      </a:br>
                      <a:r>
                        <a:rPr lang="en-US" sz="1800" b="1" u="none" strike="noStrike" dirty="0">
                          <a:effectLst/>
                        </a:rPr>
                        <a:t>(24x5) </a:t>
                      </a: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n-US" sz="1800" b="1" u="none" strike="noStrike" dirty="0">
                          <a:solidFill>
                            <a:srgbClr val="FFC000"/>
                          </a:solidFill>
                          <a:effectLst/>
                        </a:rPr>
                        <a:t>Gold</a:t>
                      </a:r>
                      <a:br>
                        <a:rPr lang="en-US" sz="1800" b="1" u="none" strike="noStrike" dirty="0">
                          <a:effectLst/>
                        </a:rPr>
                      </a:br>
                      <a:r>
                        <a:rPr lang="en-US" sz="1800" b="1" u="none" strike="noStrike" dirty="0">
                          <a:effectLst/>
                        </a:rPr>
                        <a:t>(24x7) </a:t>
                      </a: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n-US" sz="1800" b="1" u="none" strike="noStrike" dirty="0">
                          <a:solidFill>
                            <a:srgbClr val="CC6600"/>
                          </a:solidFill>
                          <a:effectLst/>
                        </a:rPr>
                        <a:t>Bronze</a:t>
                      </a:r>
                      <a:br>
                        <a:rPr lang="en-US" sz="1800" b="1" u="none" strike="noStrike" dirty="0">
                          <a:effectLst/>
                        </a:rPr>
                      </a:br>
                      <a:r>
                        <a:rPr lang="en-US" sz="1800" b="1" u="none" strike="noStrike" dirty="0">
                          <a:effectLst/>
                        </a:rPr>
                        <a:t>(8x5) </a:t>
                      </a: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n-US" sz="1800" b="1" u="none" strike="noStrike" dirty="0">
                          <a:solidFill>
                            <a:schemeClr val="accent6">
                              <a:lumMod val="75000"/>
                            </a:schemeClr>
                          </a:solidFill>
                          <a:effectLst/>
                        </a:rPr>
                        <a:t>Silver</a:t>
                      </a:r>
                      <a:br>
                        <a:rPr lang="en-US" sz="1800" b="1" u="none" strike="noStrike" dirty="0">
                          <a:effectLst/>
                        </a:rPr>
                      </a:br>
                      <a:r>
                        <a:rPr lang="en-US" sz="1800" b="1" u="none" strike="noStrike" dirty="0">
                          <a:effectLst/>
                        </a:rPr>
                        <a:t>(24x5) </a:t>
                      </a: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n-US" sz="1800" b="1" u="none" strike="noStrike" dirty="0">
                          <a:solidFill>
                            <a:srgbClr val="FFC000"/>
                          </a:solidFill>
                          <a:effectLst/>
                        </a:rPr>
                        <a:t>Gold</a:t>
                      </a:r>
                      <a:br>
                        <a:rPr lang="en-US" sz="1800" b="1" u="none" strike="noStrike" dirty="0">
                          <a:effectLst/>
                        </a:rPr>
                      </a:br>
                      <a:r>
                        <a:rPr lang="en-US" sz="1800" b="1" u="none" strike="noStrike" dirty="0">
                          <a:effectLst/>
                        </a:rPr>
                        <a:t>(24x7) </a:t>
                      </a: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n-US" sz="1800" b="1" u="none" strike="noStrike" dirty="0">
                          <a:solidFill>
                            <a:srgbClr val="CC6600"/>
                          </a:solidFill>
                          <a:effectLst/>
                        </a:rPr>
                        <a:t>Bronze</a:t>
                      </a:r>
                      <a:br>
                        <a:rPr lang="en-US" sz="1800" b="1" u="none" strike="noStrike" dirty="0">
                          <a:effectLst/>
                        </a:rPr>
                      </a:br>
                      <a:r>
                        <a:rPr lang="en-US" sz="1800" b="1" u="none" strike="noStrike" dirty="0">
                          <a:effectLst/>
                        </a:rPr>
                        <a:t>(8x5) </a:t>
                      </a: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n-US" sz="1800" b="1" u="none" strike="noStrike" dirty="0">
                          <a:solidFill>
                            <a:schemeClr val="accent6">
                              <a:lumMod val="75000"/>
                            </a:schemeClr>
                          </a:solidFill>
                          <a:effectLst/>
                        </a:rPr>
                        <a:t>Silver</a:t>
                      </a:r>
                      <a:br>
                        <a:rPr lang="en-US" sz="1800" b="1" u="none" strike="noStrike" dirty="0">
                          <a:effectLst/>
                        </a:rPr>
                      </a:br>
                      <a:r>
                        <a:rPr lang="en-US" sz="1800" b="1" u="none" strike="noStrike" dirty="0">
                          <a:effectLst/>
                        </a:rPr>
                        <a:t>(24x5) </a:t>
                      </a: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n-US" sz="1800" b="1" u="none" strike="noStrike" dirty="0">
                          <a:solidFill>
                            <a:srgbClr val="FFC000"/>
                          </a:solidFill>
                          <a:effectLst/>
                        </a:rPr>
                        <a:t>Gold</a:t>
                      </a:r>
                      <a:br>
                        <a:rPr lang="en-US" sz="1800" b="1" u="none" strike="noStrike" dirty="0">
                          <a:effectLst/>
                        </a:rPr>
                      </a:br>
                      <a:r>
                        <a:rPr lang="en-US" sz="1800" b="1" u="none" strike="noStrike" dirty="0">
                          <a:effectLst/>
                        </a:rPr>
                        <a:t>(24x7) </a:t>
                      </a: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2707954"/>
                  </a:ext>
                </a:extLst>
              </a:tr>
              <a:tr h="584964">
                <a:tc>
                  <a:txBody>
                    <a:bodyPr/>
                    <a:lstStyle/>
                    <a:p>
                      <a:pPr algn="ctr" fontAlgn="ctr"/>
                      <a:r>
                        <a:rPr lang="en-US" sz="1800" u="none" strike="noStrike" dirty="0">
                          <a:effectLst/>
                        </a:rPr>
                        <a:t>         1</a:t>
                      </a: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ctr"/>
                      <a:r>
                        <a:rPr lang="en-US" sz="1800" u="none" strike="noStrike" dirty="0">
                          <a:effectLst/>
                        </a:rPr>
                        <a:t>        9,2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ctr"/>
                      <a:r>
                        <a:rPr lang="en-US" sz="1800" u="none" strike="noStrike" dirty="0">
                          <a:effectLst/>
                        </a:rPr>
                        <a:t>    28,7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34,7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37,7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ctr"/>
                      <a:r>
                        <a:rPr lang="en-US" sz="1800" u="none" strike="noStrike" dirty="0">
                          <a:effectLst/>
                        </a:rPr>
                        <a:t>        31,7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39,2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42,7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ctr"/>
                      <a:r>
                        <a:rPr lang="en-US" sz="1800" u="none" strike="noStrike" dirty="0">
                          <a:effectLst/>
                        </a:rPr>
                        <a:t>        35,2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44,7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49,2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2837676"/>
                  </a:ext>
                </a:extLst>
              </a:tr>
              <a:tr h="584964">
                <a:tc>
                  <a:txBody>
                    <a:bodyPr/>
                    <a:lstStyle/>
                    <a:p>
                      <a:pPr algn="ctr" fontAlgn="ctr"/>
                      <a:r>
                        <a:rPr lang="en-US" sz="1800" u="none" strike="noStrike" dirty="0">
                          <a:effectLst/>
                        </a:rPr>
                        <a:t>         2 </a:t>
                      </a: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ctr"/>
                      <a:r>
                        <a:rPr lang="en-US" sz="1800" u="none" strike="noStrike" dirty="0">
                          <a:effectLst/>
                        </a:rPr>
                        <a:t>     18,50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ctr"/>
                      <a:r>
                        <a:rPr lang="en-US" sz="1800" u="none" strike="noStrike" dirty="0">
                          <a:effectLst/>
                        </a:rPr>
                        <a:t>         38,00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44,00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47,00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ctr"/>
                      <a:r>
                        <a:rPr lang="en-US" sz="1800" u="none" strike="noStrike" dirty="0">
                          <a:effectLst/>
                        </a:rPr>
                        <a:t>        41,00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48,50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52,00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ctr"/>
                      <a:r>
                        <a:rPr lang="en-US" sz="1800" u="none" strike="noStrike" dirty="0">
                          <a:effectLst/>
                        </a:rPr>
                        <a:t>        44,50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54,00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58,50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30604067"/>
                  </a:ext>
                </a:extLst>
              </a:tr>
              <a:tr h="638569">
                <a:tc>
                  <a:txBody>
                    <a:bodyPr/>
                    <a:lstStyle/>
                    <a:p>
                      <a:pPr algn="ctr" fontAlgn="ctr"/>
                      <a:r>
                        <a:rPr lang="en-US" sz="1800" u="none" strike="noStrike" dirty="0">
                          <a:effectLst/>
                        </a:rPr>
                        <a:t>         3 </a:t>
                      </a: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ctr"/>
                      <a:r>
                        <a:rPr lang="en-US" sz="1800" u="none" strike="noStrike" dirty="0">
                          <a:effectLst/>
                        </a:rPr>
                        <a:t>    27,7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ctr"/>
                      <a:r>
                        <a:rPr lang="en-US" sz="1800" u="none" strike="noStrike" dirty="0">
                          <a:effectLst/>
                        </a:rPr>
                        <a:t>         47,2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53,2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56,2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ctr"/>
                      <a:r>
                        <a:rPr lang="en-US" sz="1800" u="none" strike="noStrike" dirty="0">
                          <a:effectLst/>
                        </a:rPr>
                        <a:t>        50,2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57,7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61,2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endParaRPr lang="en-US" sz="1800" b="1"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ctr"/>
                      <a:r>
                        <a:rPr lang="en-US" sz="1800" u="none" strike="noStrike" dirty="0">
                          <a:effectLst/>
                        </a:rPr>
                        <a:t>        53,7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63,2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800" u="none" strike="noStrike" dirty="0">
                          <a:effectLst/>
                        </a:rPr>
                        <a:t>        67,750 </a:t>
                      </a:r>
                      <a:endParaRPr lang="en-US" sz="18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4067913"/>
                  </a:ext>
                </a:extLst>
              </a:tr>
            </a:tbl>
          </a:graphicData>
        </a:graphic>
      </p:graphicFrame>
      <p:grpSp>
        <p:nvGrpSpPr>
          <p:cNvPr id="46" name="Group 45">
            <a:extLst>
              <a:ext uri="{FF2B5EF4-FFF2-40B4-BE49-F238E27FC236}">
                <a16:creationId xmlns:a16="http://schemas.microsoft.com/office/drawing/2014/main" id="{C088B461-3043-4053-8E31-B1D69AF6F9C5}"/>
              </a:ext>
            </a:extLst>
          </p:cNvPr>
          <p:cNvGrpSpPr/>
          <p:nvPr/>
        </p:nvGrpSpPr>
        <p:grpSpPr>
          <a:xfrm>
            <a:off x="3600826" y="1135677"/>
            <a:ext cx="9882618" cy="2599268"/>
            <a:chOff x="1881752" y="872858"/>
            <a:chExt cx="13678074" cy="3589816"/>
          </a:xfrm>
        </p:grpSpPr>
        <p:sp>
          <p:nvSpPr>
            <p:cNvPr id="25" name="Rectangle: Rounded Corners 24">
              <a:extLst>
                <a:ext uri="{FF2B5EF4-FFF2-40B4-BE49-F238E27FC236}">
                  <a16:creationId xmlns:a16="http://schemas.microsoft.com/office/drawing/2014/main" id="{ED3D3864-C843-450E-AEEF-C6658F0D6387}"/>
                </a:ext>
              </a:extLst>
            </p:cNvPr>
            <p:cNvSpPr/>
            <p:nvPr/>
          </p:nvSpPr>
          <p:spPr>
            <a:xfrm>
              <a:off x="1881752" y="1664883"/>
              <a:ext cx="5830627" cy="2793116"/>
            </a:xfrm>
            <a:prstGeom prst="roundRect">
              <a:avLst/>
            </a:prstGeom>
            <a:noFill/>
            <a:ln>
              <a:solidFill>
                <a:srgbClr val="CBCBCB"/>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pPr algn="ctr"/>
              <a:endParaRPr lang="en-US" dirty="0"/>
            </a:p>
          </p:txBody>
        </p:sp>
        <p:sp>
          <p:nvSpPr>
            <p:cNvPr id="6" name="Plus Sign 5">
              <a:extLst>
                <a:ext uri="{FF2B5EF4-FFF2-40B4-BE49-F238E27FC236}">
                  <a16:creationId xmlns:a16="http://schemas.microsoft.com/office/drawing/2014/main" id="{F848A74F-E223-464D-9E9D-AE17BA3BFEAD}"/>
                </a:ext>
              </a:extLst>
            </p:cNvPr>
            <p:cNvSpPr/>
            <p:nvPr/>
          </p:nvSpPr>
          <p:spPr>
            <a:xfrm>
              <a:off x="8051220" y="2393230"/>
              <a:ext cx="1337481" cy="1378424"/>
            </a:xfrm>
            <a:prstGeom prst="mathPlus">
              <a:avLst/>
            </a:prstGeom>
          </p:spPr>
          <p:style>
            <a:lnRef idx="1">
              <a:schemeClr val="accent3"/>
            </a:lnRef>
            <a:fillRef idx="3">
              <a:schemeClr val="accent3"/>
            </a:fillRef>
            <a:effectRef idx="2">
              <a:schemeClr val="accent3"/>
            </a:effectRef>
            <a:fontRef idx="minor">
              <a:schemeClr val="lt1"/>
            </a:fontRef>
          </p:style>
          <p:txBody>
            <a:bodyPr rtlCol="0" anchor="ct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pPr algn="ctr"/>
              <a:endParaRPr lang="en-US" dirty="0"/>
            </a:p>
          </p:txBody>
        </p:sp>
        <p:pic>
          <p:nvPicPr>
            <p:cNvPr id="11" name="Graphic 10" descr="Robot">
              <a:extLst>
                <a:ext uri="{FF2B5EF4-FFF2-40B4-BE49-F238E27FC236}">
                  <a16:creationId xmlns:a16="http://schemas.microsoft.com/office/drawing/2014/main" id="{7A3E2375-B973-4D42-A995-54426ED7D6E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088699" y="2330571"/>
              <a:ext cx="1146412" cy="1146412"/>
            </a:xfrm>
            <a:prstGeom prst="rect">
              <a:avLst/>
            </a:prstGeom>
          </p:spPr>
        </p:pic>
        <p:sp>
          <p:nvSpPr>
            <p:cNvPr id="12" name="TextBox 11">
              <a:extLst>
                <a:ext uri="{FF2B5EF4-FFF2-40B4-BE49-F238E27FC236}">
                  <a16:creationId xmlns:a16="http://schemas.microsoft.com/office/drawing/2014/main" id="{C5941CC7-E794-4400-902F-D5D01DC16CB2}"/>
                </a:ext>
              </a:extLst>
            </p:cNvPr>
            <p:cNvSpPr txBox="1"/>
            <p:nvPr/>
          </p:nvSpPr>
          <p:spPr>
            <a:xfrm>
              <a:off x="11671135" y="3616791"/>
              <a:ext cx="1696298"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b="1" dirty="0"/>
                <a:t>Number of Bots</a:t>
              </a:r>
            </a:p>
          </p:txBody>
        </p:sp>
        <p:pic>
          <p:nvPicPr>
            <p:cNvPr id="14" name="Graphic 13" descr="Monthly calendar">
              <a:extLst>
                <a:ext uri="{FF2B5EF4-FFF2-40B4-BE49-F238E27FC236}">
                  <a16:creationId xmlns:a16="http://schemas.microsoft.com/office/drawing/2014/main" id="{398FEB8C-AA40-4219-BC90-889261CDC77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42211" y="2610657"/>
              <a:ext cx="914400" cy="914400"/>
            </a:xfrm>
            <a:prstGeom prst="rect">
              <a:avLst/>
            </a:prstGeom>
          </p:spPr>
        </p:pic>
        <p:pic>
          <p:nvPicPr>
            <p:cNvPr id="16" name="Graphic 15" descr="Stopwatch">
              <a:extLst>
                <a:ext uri="{FF2B5EF4-FFF2-40B4-BE49-F238E27FC236}">
                  <a16:creationId xmlns:a16="http://schemas.microsoft.com/office/drawing/2014/main" id="{741F7B3D-1746-425E-9FA1-32B156ED69C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67439" y="2600865"/>
              <a:ext cx="914400" cy="914400"/>
            </a:xfrm>
            <a:prstGeom prst="rect">
              <a:avLst/>
            </a:prstGeom>
          </p:spPr>
        </p:pic>
        <p:pic>
          <p:nvPicPr>
            <p:cNvPr id="18" name="Graphic 17" descr="Workflow">
              <a:extLst>
                <a:ext uri="{FF2B5EF4-FFF2-40B4-BE49-F238E27FC236}">
                  <a16:creationId xmlns:a16="http://schemas.microsoft.com/office/drawing/2014/main" id="{BB5F4BC2-30A4-4297-B35B-7C1D611B1EA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43360" y="2404926"/>
              <a:ext cx="1299449" cy="1299448"/>
            </a:xfrm>
            <a:prstGeom prst="rect">
              <a:avLst/>
            </a:prstGeom>
          </p:spPr>
        </p:pic>
        <p:sp>
          <p:nvSpPr>
            <p:cNvPr id="19" name="TextBox 18">
              <a:extLst>
                <a:ext uri="{FF2B5EF4-FFF2-40B4-BE49-F238E27FC236}">
                  <a16:creationId xmlns:a16="http://schemas.microsoft.com/office/drawing/2014/main" id="{0365953F-0936-4F75-B504-1252B453FD54}"/>
                </a:ext>
              </a:extLst>
            </p:cNvPr>
            <p:cNvSpPr txBox="1"/>
            <p:nvPr/>
          </p:nvSpPr>
          <p:spPr>
            <a:xfrm>
              <a:off x="5531444" y="3571658"/>
              <a:ext cx="1259897"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b="1" dirty="0"/>
                <a:t>Complexity</a:t>
              </a:r>
            </a:p>
          </p:txBody>
        </p:sp>
        <p:sp>
          <p:nvSpPr>
            <p:cNvPr id="20" name="TextBox 19">
              <a:extLst>
                <a:ext uri="{FF2B5EF4-FFF2-40B4-BE49-F238E27FC236}">
                  <a16:creationId xmlns:a16="http://schemas.microsoft.com/office/drawing/2014/main" id="{75833AE8-BAEB-42D6-9F0C-93980B6A4166}"/>
                </a:ext>
              </a:extLst>
            </p:cNvPr>
            <p:cNvSpPr txBox="1"/>
            <p:nvPr/>
          </p:nvSpPr>
          <p:spPr>
            <a:xfrm>
              <a:off x="2983709" y="3571658"/>
              <a:ext cx="530915"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b="1" dirty="0"/>
                <a:t>SLA</a:t>
              </a:r>
            </a:p>
          </p:txBody>
        </p:sp>
        <p:sp>
          <p:nvSpPr>
            <p:cNvPr id="26" name="TextBox 25">
              <a:extLst>
                <a:ext uri="{FF2B5EF4-FFF2-40B4-BE49-F238E27FC236}">
                  <a16:creationId xmlns:a16="http://schemas.microsoft.com/office/drawing/2014/main" id="{9491BF45-CC73-4843-8210-34EBB6575750}"/>
                </a:ext>
              </a:extLst>
            </p:cNvPr>
            <p:cNvSpPr txBox="1"/>
            <p:nvPr/>
          </p:nvSpPr>
          <p:spPr>
            <a:xfrm>
              <a:off x="2986798" y="872858"/>
              <a:ext cx="2834559" cy="830998"/>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sz="2400" b="1" dirty="0"/>
                <a:t>Per Automation Cost</a:t>
              </a:r>
            </a:p>
            <a:p>
              <a:endParaRPr lang="en-US" sz="2400" b="1" dirty="0"/>
            </a:p>
          </p:txBody>
        </p:sp>
        <p:sp>
          <p:nvSpPr>
            <p:cNvPr id="27" name="TextBox 26">
              <a:extLst>
                <a:ext uri="{FF2B5EF4-FFF2-40B4-BE49-F238E27FC236}">
                  <a16:creationId xmlns:a16="http://schemas.microsoft.com/office/drawing/2014/main" id="{CB86523D-2718-4979-AEC8-9199CDDE5235}"/>
                </a:ext>
              </a:extLst>
            </p:cNvPr>
            <p:cNvSpPr txBox="1"/>
            <p:nvPr/>
          </p:nvSpPr>
          <p:spPr>
            <a:xfrm>
              <a:off x="11620222" y="938157"/>
              <a:ext cx="1747210" cy="461665"/>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sz="2400" b="1" dirty="0"/>
                <a:t>Per Bot Cost</a:t>
              </a:r>
            </a:p>
          </p:txBody>
        </p:sp>
        <p:sp>
          <p:nvSpPr>
            <p:cNvPr id="37" name="Rectangle: Rounded Corners 36">
              <a:extLst>
                <a:ext uri="{FF2B5EF4-FFF2-40B4-BE49-F238E27FC236}">
                  <a16:creationId xmlns:a16="http://schemas.microsoft.com/office/drawing/2014/main" id="{AA5A552E-4378-489A-B5DF-B85BA00C12E4}"/>
                </a:ext>
              </a:extLst>
            </p:cNvPr>
            <p:cNvSpPr/>
            <p:nvPr/>
          </p:nvSpPr>
          <p:spPr>
            <a:xfrm>
              <a:off x="9729199" y="1577519"/>
              <a:ext cx="5830627" cy="2885155"/>
            </a:xfrm>
            <a:prstGeom prst="roundRect">
              <a:avLst/>
            </a:prstGeom>
            <a:noFill/>
            <a:ln>
              <a:solidFill>
                <a:srgbClr val="CBCBCB"/>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pPr algn="ctr"/>
              <a:endParaRPr lang="en-US" dirty="0"/>
            </a:p>
          </p:txBody>
        </p:sp>
        <p:pic>
          <p:nvPicPr>
            <p:cNvPr id="41" name="Graphic 40" descr="Robot">
              <a:extLst>
                <a:ext uri="{FF2B5EF4-FFF2-40B4-BE49-F238E27FC236}">
                  <a16:creationId xmlns:a16="http://schemas.microsoft.com/office/drawing/2014/main" id="{0E7AE96E-5D4B-4C99-B97F-9CD72BF544D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235111" y="2332632"/>
              <a:ext cx="1146412" cy="1146412"/>
            </a:xfrm>
            <a:prstGeom prst="rect">
              <a:avLst/>
            </a:prstGeom>
          </p:spPr>
        </p:pic>
        <p:pic>
          <p:nvPicPr>
            <p:cNvPr id="43" name="Graphic 42" descr="Robot">
              <a:extLst>
                <a:ext uri="{FF2B5EF4-FFF2-40B4-BE49-F238E27FC236}">
                  <a16:creationId xmlns:a16="http://schemas.microsoft.com/office/drawing/2014/main" id="{F9F6A251-A09A-4E65-B4FD-B568A6F370E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62264" y="2332632"/>
              <a:ext cx="1146412" cy="1146412"/>
            </a:xfrm>
            <a:prstGeom prst="rect">
              <a:avLst/>
            </a:prstGeom>
          </p:spPr>
        </p:pic>
      </p:grpSp>
      <p:sp>
        <p:nvSpPr>
          <p:cNvPr id="47" name="TextBox 46">
            <a:extLst>
              <a:ext uri="{FF2B5EF4-FFF2-40B4-BE49-F238E27FC236}">
                <a16:creationId xmlns:a16="http://schemas.microsoft.com/office/drawing/2014/main" id="{05CB87BB-73D5-465E-888D-36C5856D9B41}"/>
              </a:ext>
            </a:extLst>
          </p:cNvPr>
          <p:cNvSpPr txBox="1"/>
          <p:nvPr/>
        </p:nvSpPr>
        <p:spPr>
          <a:xfrm>
            <a:off x="1818291" y="2176402"/>
            <a:ext cx="1497040" cy="1200329"/>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sz="3600" dirty="0"/>
              <a:t>Cost Drivers</a:t>
            </a:r>
          </a:p>
        </p:txBody>
      </p:sp>
      <p:sp>
        <p:nvSpPr>
          <p:cNvPr id="3" name="TextBox 2">
            <a:extLst>
              <a:ext uri="{FF2B5EF4-FFF2-40B4-BE49-F238E27FC236}">
                <a16:creationId xmlns:a16="http://schemas.microsoft.com/office/drawing/2014/main" id="{62B7079C-711C-40B8-92DF-4FB9D68799D1}"/>
              </a:ext>
            </a:extLst>
          </p:cNvPr>
          <p:cNvSpPr txBox="1"/>
          <p:nvPr/>
        </p:nvSpPr>
        <p:spPr>
          <a:xfrm>
            <a:off x="640080" y="8412503"/>
            <a:ext cx="15426224" cy="646331"/>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r>
              <a:rPr lang="en-US" dirty="0"/>
              <a:t>Support costs in this example are not inclusive of the platform costs. To get an accurate estimate of your automation support cost, you can download and use the </a:t>
            </a:r>
            <a:r>
              <a:rPr lang="en-US" dirty="0">
                <a:hlinkClick r:id="rId10"/>
              </a:rPr>
              <a:t>RPA Ops Cost Template.xlsx</a:t>
            </a:r>
            <a:endParaRPr lang="en-US" dirty="0"/>
          </a:p>
        </p:txBody>
      </p:sp>
    </p:spTree>
    <p:extLst>
      <p:ext uri="{BB962C8B-B14F-4D97-AF65-F5344CB8AC3E}">
        <p14:creationId xmlns:p14="http://schemas.microsoft.com/office/powerpoint/2010/main" val="1063953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B3BD7-7CA0-4A53-A8A6-522C56444758}"/>
              </a:ext>
            </a:extLst>
          </p:cNvPr>
          <p:cNvSpPr>
            <a:spLocks noGrp="1"/>
          </p:cNvSpPr>
          <p:nvPr>
            <p:ph type="title"/>
          </p:nvPr>
        </p:nvSpPr>
        <p:spPr>
          <a:xfrm>
            <a:off x="640080" y="302071"/>
            <a:ext cx="16093440" cy="782320"/>
          </a:xfrm>
        </p:spPr>
        <p:txBody>
          <a:bodyPr>
            <a:normAutofit fontScale="90000"/>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307219"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614438"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921656"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228875"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1536094" algn="l" defTabSz="307219" rtl="0" eaLnBrk="1" latinLnBrk="0" hangingPunct="1">
              <a:defRPr kern="1200">
                <a:solidFill>
                  <a:schemeClr val="tx1"/>
                </a:solidFill>
                <a:latin typeface="Calibri" charset="0"/>
                <a:ea typeface="ＭＳ Ｐゴシック" charset="0"/>
                <a:cs typeface="ＭＳ Ｐゴシック" charset="0"/>
              </a:defRPr>
            </a:lvl6pPr>
            <a:lvl7pPr marL="1843312" algn="l" defTabSz="307219" rtl="0" eaLnBrk="1" latinLnBrk="0" hangingPunct="1">
              <a:defRPr kern="1200">
                <a:solidFill>
                  <a:schemeClr val="tx1"/>
                </a:solidFill>
                <a:latin typeface="Calibri" charset="0"/>
                <a:ea typeface="ＭＳ Ｐゴシック" charset="0"/>
                <a:cs typeface="ＭＳ Ｐゴシック" charset="0"/>
              </a:defRPr>
            </a:lvl7pPr>
            <a:lvl8pPr marL="2150531" algn="l" defTabSz="307219" rtl="0" eaLnBrk="1" latinLnBrk="0" hangingPunct="1">
              <a:defRPr kern="1200">
                <a:solidFill>
                  <a:schemeClr val="tx1"/>
                </a:solidFill>
                <a:latin typeface="Calibri" charset="0"/>
                <a:ea typeface="ＭＳ Ｐゴシック" charset="0"/>
                <a:cs typeface="ＭＳ Ｐゴシック" charset="0"/>
              </a:defRPr>
            </a:lvl8pPr>
            <a:lvl9pPr marL="2457750" algn="l" defTabSz="307219" rtl="0" eaLnBrk="1" latinLnBrk="0" hangingPunct="1">
              <a:defRPr kern="1200">
                <a:solidFill>
                  <a:schemeClr val="tx1"/>
                </a:solidFill>
                <a:latin typeface="Calibri" charset="0"/>
                <a:ea typeface="ＭＳ Ｐゴシック" charset="0"/>
                <a:cs typeface="ＭＳ Ｐゴシック" charset="0"/>
              </a:defRPr>
            </a:lvl9pPr>
          </a:lstStyle>
          <a:p>
            <a:pPr algn="ctr"/>
            <a:r>
              <a:rPr lang="en-US" dirty="0">
                <a:solidFill>
                  <a:schemeClr val="bg1">
                    <a:lumMod val="50000"/>
                  </a:schemeClr>
                </a:solidFill>
              </a:rPr>
              <a:t>Team Roles and Responsibilities</a:t>
            </a:r>
            <a:endParaRPr lang="en-US" dirty="0">
              <a:solidFill>
                <a:schemeClr val="bg1">
                  <a:lumMod val="50000"/>
                </a:schemeClr>
              </a:solidFill>
              <a:latin typeface="+mn-lt"/>
            </a:endParaRPr>
          </a:p>
        </p:txBody>
      </p:sp>
      <p:graphicFrame>
        <p:nvGraphicFramePr>
          <p:cNvPr id="4" name="Table 3">
            <a:extLst>
              <a:ext uri="{FF2B5EF4-FFF2-40B4-BE49-F238E27FC236}">
                <a16:creationId xmlns:a16="http://schemas.microsoft.com/office/drawing/2014/main" id="{8F9F765C-4D15-4C0E-8906-C69ABF806607}"/>
              </a:ext>
            </a:extLst>
          </p:cNvPr>
          <p:cNvGraphicFramePr>
            <a:graphicFrameLocks noGrp="1"/>
          </p:cNvGraphicFramePr>
          <p:nvPr>
            <p:extLst>
              <p:ext uri="{D42A27DB-BD31-4B8C-83A1-F6EECF244321}">
                <p14:modId xmlns:p14="http://schemas.microsoft.com/office/powerpoint/2010/main" val="4114770243"/>
              </p:ext>
            </p:extLst>
          </p:nvPr>
        </p:nvGraphicFramePr>
        <p:xfrm>
          <a:off x="439306" y="1222902"/>
          <a:ext cx="16093440" cy="8083147"/>
        </p:xfrm>
        <a:graphic>
          <a:graphicData uri="http://schemas.openxmlformats.org/drawingml/2006/table">
            <a:tbl>
              <a:tblPr firstRow="1" bandRow="1">
                <a:tableStyleId>{5C22544A-7EE6-4342-B048-85BDC9FD1C3A}</a:tableStyleId>
              </a:tblPr>
              <a:tblGrid>
                <a:gridCol w="2915639">
                  <a:extLst>
                    <a:ext uri="{9D8B030D-6E8A-4147-A177-3AD203B41FA5}">
                      <a16:colId xmlns:a16="http://schemas.microsoft.com/office/drawing/2014/main" val="3164877189"/>
                    </a:ext>
                  </a:extLst>
                </a:gridCol>
                <a:gridCol w="13177801">
                  <a:extLst>
                    <a:ext uri="{9D8B030D-6E8A-4147-A177-3AD203B41FA5}">
                      <a16:colId xmlns:a16="http://schemas.microsoft.com/office/drawing/2014/main" val="1272352663"/>
                    </a:ext>
                  </a:extLst>
                </a:gridCol>
              </a:tblGrid>
              <a:tr h="444309">
                <a:tc>
                  <a:txBody>
                    <a:bodyPr/>
                    <a:lstStyle/>
                    <a:p>
                      <a:endParaRPr lang="en-US" sz="1800" dirty="0">
                        <a:solidFill>
                          <a:schemeClr val="tx1">
                            <a:lumMod val="65000"/>
                            <a:lumOff val="35000"/>
                          </a:schemeClr>
                        </a:solidFill>
                      </a:endParaRPr>
                    </a:p>
                  </a:txBody>
                  <a:tcPr marL="134112" marR="134112" marT="67056" marB="67056">
                    <a:noFill/>
                  </a:tcPr>
                </a:tc>
                <a:tc>
                  <a:txBody>
                    <a:bodyPr/>
                    <a:lstStyle/>
                    <a:p>
                      <a:endParaRPr lang="en-US" sz="1800" dirty="0">
                        <a:solidFill>
                          <a:schemeClr val="tx1">
                            <a:lumMod val="65000"/>
                            <a:lumOff val="35000"/>
                          </a:schemeClr>
                        </a:solidFill>
                      </a:endParaRPr>
                    </a:p>
                  </a:txBody>
                  <a:tcPr marL="134112" marR="134112" marT="67056" marB="67056">
                    <a:noFill/>
                  </a:tcPr>
                </a:tc>
                <a:extLst>
                  <a:ext uri="{0D108BD9-81ED-4DB2-BD59-A6C34878D82A}">
                    <a16:rowId xmlns:a16="http://schemas.microsoft.com/office/drawing/2014/main" val="1340014342"/>
                  </a:ext>
                </a:extLst>
              </a:tr>
              <a:tr h="1803646">
                <a:tc>
                  <a:txBody>
                    <a:bodyPr/>
                    <a:lstStyle/>
                    <a:p>
                      <a:r>
                        <a:rPr lang="en-US" sz="1800" b="1" i="0" u="none" dirty="0">
                          <a:solidFill>
                            <a:schemeClr val="tx1">
                              <a:lumMod val="85000"/>
                              <a:lumOff val="15000"/>
                            </a:schemeClr>
                          </a:solidFill>
                          <a:latin typeface="+mn-lt"/>
                        </a:rPr>
                        <a:t>Business Process Owners</a:t>
                      </a:r>
                    </a:p>
                    <a:p>
                      <a:endParaRPr lang="en-US" sz="1800" dirty="0">
                        <a:solidFill>
                          <a:schemeClr val="tx1">
                            <a:lumMod val="85000"/>
                            <a:lumOff val="15000"/>
                          </a:schemeClr>
                        </a:solidFill>
                        <a:latin typeface="+mn-lt"/>
                      </a:endParaRPr>
                    </a:p>
                  </a:txBody>
                  <a:tcPr marL="134112" marR="134112" marT="67056" marB="67056">
                    <a:noFill/>
                  </a:tcPr>
                </a:tc>
                <a:tc>
                  <a:txBody>
                    <a:bodyPr/>
                    <a:lstStyle/>
                    <a:p>
                      <a:pPr marL="171450" indent="-171450">
                        <a:buFont typeface="Arial" panose="020B0604020202020204" pitchFamily="34" charset="0"/>
                        <a:buChar char="•"/>
                      </a:pPr>
                      <a:r>
                        <a:rPr kumimoji="0" lang="en-US" altLang="en-US" sz="1800" b="0" i="0" u="none" strike="noStrike" kern="1200" cap="none" spc="0" normalizeH="0" baseline="0" dirty="0">
                          <a:ln>
                            <a:noFill/>
                          </a:ln>
                          <a:solidFill>
                            <a:schemeClr val="tx1">
                              <a:lumMod val="85000"/>
                              <a:lumOff val="15000"/>
                            </a:schemeClr>
                          </a:solidFill>
                          <a:effectLst/>
                          <a:uLnTx/>
                          <a:uFillTx/>
                          <a:latin typeface="+mn-lt"/>
                          <a:ea typeface="+mn-ea"/>
                          <a:cs typeface="+mn-cs"/>
                        </a:rPr>
                        <a:t>Resolve data &amp; business rules related errors; coordinate business meetings with other business SMEs as necessary to resolve issues</a:t>
                      </a:r>
                    </a:p>
                    <a:p>
                      <a:pPr marL="171450" indent="-171450">
                        <a:buFont typeface="Arial" panose="020B0604020202020204" pitchFamily="34" charset="0"/>
                        <a:buChar char="•"/>
                      </a:pPr>
                      <a:r>
                        <a:rPr kumimoji="0" lang="en-US" sz="1800" b="0" i="0" u="none" strike="noStrike" kern="1200" cap="none" spc="0" normalizeH="0" baseline="0" noProof="0" dirty="0">
                          <a:ln>
                            <a:noFill/>
                          </a:ln>
                          <a:solidFill>
                            <a:schemeClr val="tx1">
                              <a:lumMod val="85000"/>
                              <a:lumOff val="15000"/>
                            </a:schemeClr>
                          </a:solidFill>
                          <a:effectLst/>
                          <a:uLnTx/>
                          <a:uFillTx/>
                          <a:latin typeface="+mn-lt"/>
                          <a:ea typeface="+mn-ea"/>
                          <a:cs typeface="+mn-cs"/>
                        </a:rPr>
                        <a:t>Provide advanced visibility to the run team on upcoming process and system changes/Updates </a:t>
                      </a:r>
                    </a:p>
                    <a:p>
                      <a:pPr marL="171450" indent="-171450">
                        <a:buFont typeface="Arial" panose="020B0604020202020204" pitchFamily="34" charset="0"/>
                        <a:buChar char="•"/>
                      </a:pPr>
                      <a:r>
                        <a:rPr kumimoji="0" lang="en-US" altLang="en-US" sz="1800" b="0" i="0" u="none" strike="noStrike" kern="1200" cap="none" spc="0" normalizeH="0" baseline="0" dirty="0">
                          <a:ln>
                            <a:noFill/>
                          </a:ln>
                          <a:solidFill>
                            <a:schemeClr val="tx1">
                              <a:lumMod val="85000"/>
                              <a:lumOff val="15000"/>
                            </a:schemeClr>
                          </a:solidFill>
                          <a:effectLst/>
                          <a:uLnTx/>
                          <a:uFillTx/>
                          <a:latin typeface="+mn-lt"/>
                          <a:ea typeface="+mn-ea"/>
                          <a:cs typeface="+mn-cs"/>
                        </a:rPr>
                        <a:t>Define new process, business rules for new requests/enhancements</a:t>
                      </a:r>
                    </a:p>
                    <a:p>
                      <a:pPr marL="171450" marR="0" lvl="0" indent="-171450" algn="l" defTabSz="52479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800" b="0" i="0" u="none" strike="noStrike" kern="1200" cap="none" spc="0" normalizeH="0" baseline="0" dirty="0">
                          <a:ln>
                            <a:noFill/>
                          </a:ln>
                          <a:solidFill>
                            <a:schemeClr val="tx1">
                              <a:lumMod val="85000"/>
                              <a:lumOff val="15000"/>
                            </a:schemeClr>
                          </a:solidFill>
                          <a:effectLst/>
                          <a:uLnTx/>
                          <a:uFillTx/>
                          <a:latin typeface="+mn-lt"/>
                          <a:ea typeface="+mn-ea"/>
                          <a:cs typeface="+mn-cs"/>
                        </a:rPr>
                        <a:t>Help obtain funding for enhancements and change order requests if necessary</a:t>
                      </a:r>
                    </a:p>
                    <a:p>
                      <a:pPr marL="171450" marR="0" lvl="0" indent="-171450" algn="l" defTabSz="52479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lumMod val="85000"/>
                              <a:lumOff val="15000"/>
                            </a:schemeClr>
                          </a:solidFill>
                          <a:effectLst/>
                          <a:uLnTx/>
                          <a:uFillTx/>
                          <a:latin typeface="+mn-lt"/>
                          <a:ea typeface="+mn-ea"/>
                          <a:cs typeface="+mn-cs"/>
                        </a:rPr>
                        <a:t>KT of Process and Data of the Automation to the support team</a:t>
                      </a:r>
                    </a:p>
                    <a:p>
                      <a:pPr marL="171450" indent="-171450">
                        <a:buFont typeface="Arial" panose="020B0604020202020204" pitchFamily="34" charset="0"/>
                        <a:buChar char="•"/>
                      </a:pPr>
                      <a:endParaRPr lang="en-US" sz="1800" dirty="0">
                        <a:solidFill>
                          <a:schemeClr val="tx1">
                            <a:lumMod val="85000"/>
                            <a:lumOff val="15000"/>
                          </a:schemeClr>
                        </a:solidFill>
                        <a:latin typeface="+mn-lt"/>
                      </a:endParaRPr>
                    </a:p>
                  </a:txBody>
                  <a:tcPr marL="134112" marR="134112" marT="67056" marB="67056">
                    <a:noFill/>
                  </a:tcPr>
                </a:tc>
                <a:extLst>
                  <a:ext uri="{0D108BD9-81ED-4DB2-BD59-A6C34878D82A}">
                    <a16:rowId xmlns:a16="http://schemas.microsoft.com/office/drawing/2014/main" val="2444293042"/>
                  </a:ext>
                </a:extLst>
              </a:tr>
              <a:tr h="1309076">
                <a:tc>
                  <a:txBody>
                    <a:bodyPr/>
                    <a:lstStyle/>
                    <a:p>
                      <a:pPr marL="0" marR="0" lvl="0" indent="0" algn="l" defTabSz="524792" rtl="0" eaLnBrk="1" fontAlgn="auto" latinLnBrk="0" hangingPunct="1">
                        <a:lnSpc>
                          <a:spcPct val="100000"/>
                        </a:lnSpc>
                        <a:spcBef>
                          <a:spcPts val="0"/>
                        </a:spcBef>
                        <a:spcAft>
                          <a:spcPts val="0"/>
                        </a:spcAft>
                        <a:buClrTx/>
                        <a:buSzTx/>
                        <a:buFontTx/>
                        <a:buNone/>
                        <a:tabLst/>
                        <a:defRPr/>
                      </a:pPr>
                      <a:r>
                        <a:rPr lang="en-US" sz="1800" b="1" dirty="0">
                          <a:solidFill>
                            <a:schemeClr val="tx1">
                              <a:lumMod val="85000"/>
                              <a:lumOff val="15000"/>
                            </a:schemeClr>
                          </a:solidFill>
                          <a:latin typeface="+mn-lt"/>
                        </a:rPr>
                        <a:t>JJT Business Technology</a:t>
                      </a:r>
                      <a:endParaRPr lang="en-US" sz="1800" b="1" baseline="0" dirty="0">
                        <a:solidFill>
                          <a:schemeClr val="tx1">
                            <a:lumMod val="85000"/>
                            <a:lumOff val="15000"/>
                          </a:schemeClr>
                        </a:solidFill>
                        <a:latin typeface="+mn-lt"/>
                      </a:endParaRPr>
                    </a:p>
                  </a:txBody>
                  <a:tcPr marL="134112" marR="134112" marT="67056" marB="67056">
                    <a:noFill/>
                  </a:tcPr>
                </a:tc>
                <a:tc>
                  <a:txBody>
                    <a:bodyPr/>
                    <a:lstStyle/>
                    <a:p>
                      <a:pPr marL="171450" marR="0" lvl="0" indent="-171450" algn="l" defTabSz="68583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lumMod val="85000"/>
                              <a:lumOff val="15000"/>
                            </a:schemeClr>
                          </a:solidFill>
                          <a:effectLst/>
                          <a:uLnTx/>
                          <a:uFillTx/>
                          <a:latin typeface="+mn-lt"/>
                          <a:ea typeface="+mn-ea"/>
                          <a:cs typeface="+mn-cs"/>
                        </a:rPr>
                        <a:t>Coordinate with process owner and finalize/approve specific access required for in the Target/Source applications for the BOT</a:t>
                      </a:r>
                    </a:p>
                    <a:p>
                      <a:pPr marL="171450" marR="0" lvl="0" indent="-171450" algn="l" defTabSz="68583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iscuss and mitigate all SOD related challenges and align with the process owner</a:t>
                      </a:r>
                    </a:p>
                    <a:p>
                      <a:pPr marL="171450" marR="0" lvl="0" indent="-171450" algn="l" defTabSz="68583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lumMod val="85000"/>
                              <a:lumOff val="15000"/>
                            </a:schemeClr>
                          </a:solidFill>
                          <a:effectLst/>
                          <a:uLnTx/>
                          <a:uFillTx/>
                          <a:latin typeface="+mn-lt"/>
                          <a:ea typeface="+mn-ea"/>
                          <a:cs typeface="+mn-cs"/>
                        </a:rPr>
                        <a:t>Provide all approval to the PLO for access for the BOT</a:t>
                      </a:r>
                    </a:p>
                    <a:p>
                      <a:endParaRPr lang="en-US" sz="1800" dirty="0">
                        <a:solidFill>
                          <a:schemeClr val="tx1">
                            <a:lumMod val="85000"/>
                            <a:lumOff val="15000"/>
                          </a:schemeClr>
                        </a:solidFill>
                        <a:latin typeface="+mn-lt"/>
                      </a:endParaRPr>
                    </a:p>
                  </a:txBody>
                  <a:tcPr marL="134112" marR="134112" marT="67056" marB="67056">
                    <a:noFill/>
                  </a:tcPr>
                </a:tc>
                <a:extLst>
                  <a:ext uri="{0D108BD9-81ED-4DB2-BD59-A6C34878D82A}">
                    <a16:rowId xmlns:a16="http://schemas.microsoft.com/office/drawing/2014/main" val="835452732"/>
                  </a:ext>
                </a:extLst>
              </a:tr>
              <a:tr h="2263058">
                <a:tc>
                  <a:txBody>
                    <a:bodyPr/>
                    <a:lstStyle/>
                    <a:p>
                      <a:pPr marL="0" marR="0" lvl="0" indent="0" algn="l" defTabSz="524792" rtl="0" eaLnBrk="1" fontAlgn="auto" latinLnBrk="0" hangingPunct="1">
                        <a:lnSpc>
                          <a:spcPct val="100000"/>
                        </a:lnSpc>
                        <a:spcBef>
                          <a:spcPts val="0"/>
                        </a:spcBef>
                        <a:spcAft>
                          <a:spcPts val="0"/>
                        </a:spcAft>
                        <a:buClrTx/>
                        <a:buSzTx/>
                        <a:buFontTx/>
                        <a:buNone/>
                        <a:tabLst/>
                        <a:defRPr/>
                      </a:pPr>
                      <a:r>
                        <a:rPr lang="en-US" sz="1800" b="1" dirty="0">
                          <a:solidFill>
                            <a:schemeClr val="tx1">
                              <a:lumMod val="85000"/>
                              <a:lumOff val="15000"/>
                            </a:schemeClr>
                          </a:solidFill>
                          <a:latin typeface="+mn-lt"/>
                        </a:rPr>
                        <a:t>JJTS RPA Platform</a:t>
                      </a:r>
                    </a:p>
                  </a:txBody>
                  <a:tcPr marL="134112" marR="134112" marT="67056" marB="67056">
                    <a:noFill/>
                  </a:tcPr>
                </a:tc>
                <a:tc>
                  <a:txBody>
                    <a:bodyPr/>
                    <a:lstStyle/>
                    <a:p>
                      <a:pPr marL="171450" marR="0" lvl="0" indent="-171450" algn="l" defTabSz="68583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lumMod val="85000"/>
                              <a:lumOff val="15000"/>
                            </a:schemeClr>
                          </a:solidFill>
                          <a:effectLst/>
                          <a:uLnTx/>
                          <a:uFillTx/>
                          <a:latin typeface="+mn-lt"/>
                          <a:ea typeface="+mn-ea"/>
                          <a:cs typeface="+mn-cs"/>
                        </a:rPr>
                        <a:t>Code migration and deployment form Dev to QA and QA to Prod</a:t>
                      </a:r>
                    </a:p>
                    <a:p>
                      <a:pPr marL="171450" marR="0" lvl="0" indent="-171450" algn="l" defTabSz="68583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lumMod val="85000"/>
                              <a:lumOff val="15000"/>
                            </a:schemeClr>
                          </a:solidFill>
                          <a:effectLst/>
                          <a:uLnTx/>
                          <a:uFillTx/>
                          <a:latin typeface="+mn-lt"/>
                          <a:ea typeface="+mn-ea"/>
                          <a:cs typeface="+mn-cs"/>
                        </a:rPr>
                        <a:t>Maintenance of bot machines – e.g. deletion of logs, windows patches, etc.</a:t>
                      </a:r>
                    </a:p>
                    <a:p>
                      <a:pPr marL="171450" marR="0" lvl="0" indent="-171450" algn="l" defTabSz="68583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lumMod val="85000"/>
                              <a:lumOff val="15000"/>
                            </a:schemeClr>
                          </a:solidFill>
                          <a:effectLst/>
                          <a:uLnTx/>
                          <a:uFillTx/>
                          <a:latin typeface="+mn-lt"/>
                          <a:ea typeface="+mn-ea"/>
                          <a:cs typeface="+mn-cs"/>
                        </a:rPr>
                        <a:t>Password management / resets for BOT and business application accounts </a:t>
                      </a:r>
                    </a:p>
                    <a:p>
                      <a:pPr marL="171450" marR="0" lvl="0" indent="-171450" algn="l" defTabSz="68583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lumMod val="85000"/>
                              <a:lumOff val="15000"/>
                            </a:schemeClr>
                          </a:solidFill>
                          <a:effectLst/>
                          <a:uLnTx/>
                          <a:uFillTx/>
                          <a:latin typeface="+mn-lt"/>
                          <a:ea typeface="+mn-ea"/>
                          <a:cs typeface="+mn-cs"/>
                        </a:rPr>
                        <a:t>Analyze and resolve platform (BluePrism) related issues</a:t>
                      </a:r>
                    </a:p>
                    <a:p>
                      <a:pPr marL="171450" marR="0" lvl="0" indent="-171450" algn="l" defTabSz="68583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lumMod val="85000"/>
                              <a:lumOff val="15000"/>
                            </a:schemeClr>
                          </a:solidFill>
                          <a:effectLst/>
                          <a:uLnTx/>
                          <a:uFillTx/>
                          <a:latin typeface="+mn-lt"/>
                          <a:ea typeface="+mn-ea"/>
                          <a:cs typeface="+mn-cs"/>
                        </a:rPr>
                        <a:t>Platform maintenance and upgrade to the platform</a:t>
                      </a:r>
                    </a:p>
                    <a:p>
                      <a:pPr marL="171450" marR="0" lvl="0" indent="-171450" algn="l" defTabSz="68583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lumMod val="85000"/>
                              <a:lumOff val="15000"/>
                            </a:schemeClr>
                          </a:solidFill>
                          <a:effectLst/>
                          <a:uLnTx/>
                          <a:uFillTx/>
                          <a:latin typeface="+mn-lt"/>
                          <a:ea typeface="+mn-ea"/>
                          <a:cs typeface="+mn-cs"/>
                        </a:rPr>
                        <a:t>Create and maintain SOPs pertaining to platform activities</a:t>
                      </a:r>
                    </a:p>
                    <a:p>
                      <a:endParaRPr lang="en-US" sz="1800" dirty="0">
                        <a:solidFill>
                          <a:schemeClr val="tx1">
                            <a:lumMod val="85000"/>
                            <a:lumOff val="15000"/>
                          </a:schemeClr>
                        </a:solidFill>
                        <a:latin typeface="+mn-lt"/>
                      </a:endParaRPr>
                    </a:p>
                  </a:txBody>
                  <a:tcPr marL="134112" marR="134112" marT="67056" marB="67056">
                    <a:noFill/>
                  </a:tcPr>
                </a:tc>
                <a:extLst>
                  <a:ext uri="{0D108BD9-81ED-4DB2-BD59-A6C34878D82A}">
                    <a16:rowId xmlns:a16="http://schemas.microsoft.com/office/drawing/2014/main" val="3560224858"/>
                  </a:ext>
                </a:extLst>
              </a:tr>
              <a:tr h="2263058">
                <a:tc>
                  <a:txBody>
                    <a:bodyPr/>
                    <a:lstStyle/>
                    <a:p>
                      <a:r>
                        <a:rPr lang="en-US" sz="1800" b="1" dirty="0">
                          <a:solidFill>
                            <a:schemeClr val="tx1">
                              <a:lumMod val="85000"/>
                              <a:lumOff val="15000"/>
                            </a:schemeClr>
                          </a:solidFill>
                          <a:latin typeface="+mn-lt"/>
                        </a:rPr>
                        <a:t>JJTS RPA Operations</a:t>
                      </a:r>
                    </a:p>
                  </a:txBody>
                  <a:tcPr marL="134112" marR="134112" marT="67056" marB="67056">
                    <a:noFill/>
                  </a:tcPr>
                </a:tc>
                <a:tc>
                  <a:txBody>
                    <a:bodyPr/>
                    <a:lstStyle/>
                    <a:p>
                      <a:pPr marL="171450" marR="0" lvl="0" indent="-171450" algn="l" defTabSz="68583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lumMod val="85000"/>
                              <a:lumOff val="15000"/>
                            </a:schemeClr>
                          </a:solidFill>
                          <a:effectLst/>
                          <a:uLnTx/>
                          <a:uFillTx/>
                          <a:latin typeface="+mn-lt"/>
                          <a:ea typeface="+mn-ea"/>
                          <a:cs typeface="+mn-cs"/>
                        </a:rPr>
                        <a:t>Fix issues (in-scope) identified proactively during monitoring</a:t>
                      </a:r>
                    </a:p>
                    <a:p>
                      <a:pPr marL="171450" marR="0" lvl="0" indent="-171450" algn="l" defTabSz="68583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lumMod val="85000"/>
                              <a:lumOff val="15000"/>
                            </a:schemeClr>
                          </a:solidFill>
                          <a:effectLst/>
                          <a:uLnTx/>
                          <a:uFillTx/>
                          <a:latin typeface="+mn-lt"/>
                          <a:ea typeface="+mn-ea"/>
                          <a:cs typeface="+mn-cs"/>
                        </a:rPr>
                        <a:t>Analyze all repeated issues, perform RCA, provide solution and document all activities</a:t>
                      </a:r>
                    </a:p>
                    <a:p>
                      <a:pPr marL="171450" marR="0" lvl="0" indent="-171450" algn="l" defTabSz="68583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lumMod val="85000"/>
                              <a:lumOff val="15000"/>
                            </a:schemeClr>
                          </a:solidFill>
                          <a:effectLst/>
                          <a:uLnTx/>
                          <a:uFillTx/>
                          <a:latin typeface="+mn-lt"/>
                          <a:ea typeface="+mn-ea"/>
                          <a:cs typeface="+mn-cs"/>
                        </a:rPr>
                        <a:t>Assist with regression testing and impact analysis during a system update/change/migration</a:t>
                      </a:r>
                    </a:p>
                    <a:p>
                      <a:pPr marL="171450" indent="-171450">
                        <a:buFont typeface="Arial" panose="020B0604020202020204" pitchFamily="34" charset="0"/>
                        <a:buChar char="•"/>
                      </a:pPr>
                      <a:r>
                        <a:rPr lang="en-US" sz="1800" dirty="0">
                          <a:solidFill>
                            <a:schemeClr val="tx1">
                              <a:lumMod val="85000"/>
                              <a:lumOff val="15000"/>
                            </a:schemeClr>
                          </a:solidFill>
                          <a:latin typeface="+mn-lt"/>
                        </a:rPr>
                        <a:t>Organize and lead regular operational review meetings with leadership</a:t>
                      </a:r>
                      <a:r>
                        <a:rPr lang="en-US" sz="1800" baseline="0" dirty="0">
                          <a:solidFill>
                            <a:schemeClr val="tx1">
                              <a:lumMod val="85000"/>
                              <a:lumOff val="15000"/>
                            </a:schemeClr>
                          </a:solidFill>
                          <a:latin typeface="+mn-lt"/>
                        </a:rPr>
                        <a:t> teams</a:t>
                      </a:r>
                    </a:p>
                    <a:p>
                      <a:pPr marL="171450" marR="0" lvl="0" indent="-171450" algn="l" defTabSz="91432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chemeClr val="tx1">
                              <a:lumMod val="85000"/>
                              <a:lumOff val="15000"/>
                            </a:schemeClr>
                          </a:solidFill>
                          <a:latin typeface="+mn-lt"/>
                        </a:rPr>
                        <a:t>Explore opportunities for services improvements</a:t>
                      </a:r>
                    </a:p>
                    <a:p>
                      <a:pPr marL="0" marR="0" lvl="0" indent="0" algn="l" defTabSz="685834"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800" dirty="0">
                        <a:solidFill>
                          <a:schemeClr val="tx1">
                            <a:lumMod val="85000"/>
                            <a:lumOff val="15000"/>
                          </a:schemeClr>
                        </a:solidFill>
                        <a:latin typeface="+mn-lt"/>
                      </a:endParaRPr>
                    </a:p>
                  </a:txBody>
                  <a:tcPr marL="134112" marR="134112" marT="67056" marB="67056">
                    <a:noFill/>
                  </a:tcPr>
                </a:tc>
                <a:extLst>
                  <a:ext uri="{0D108BD9-81ED-4DB2-BD59-A6C34878D82A}">
                    <a16:rowId xmlns:a16="http://schemas.microsoft.com/office/drawing/2014/main" val="3932285256"/>
                  </a:ext>
                </a:extLst>
              </a:tr>
            </a:tbl>
          </a:graphicData>
        </a:graphic>
      </p:graphicFrame>
    </p:spTree>
    <p:extLst>
      <p:ext uri="{BB962C8B-B14F-4D97-AF65-F5344CB8AC3E}">
        <p14:creationId xmlns:p14="http://schemas.microsoft.com/office/powerpoint/2010/main" val="8536115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HLtDBeOikyH6aGrojIW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T Align Ignite Deliver">
  <a:themeElements>
    <a:clrScheme name="JJ colors">
      <a:dk1>
        <a:srgbClr val="000000"/>
      </a:dk1>
      <a:lt1>
        <a:srgbClr val="FFFFFF"/>
      </a:lt1>
      <a:dk2>
        <a:srgbClr val="000000"/>
      </a:dk2>
      <a:lt2>
        <a:srgbClr val="FFFFFF"/>
      </a:lt2>
      <a:accent1>
        <a:srgbClr val="E5E5E5"/>
      </a:accent1>
      <a:accent2>
        <a:srgbClr val="12C2E9"/>
      </a:accent2>
      <a:accent3>
        <a:srgbClr val="595959"/>
      </a:accent3>
      <a:accent4>
        <a:srgbClr val="0A8CAA"/>
      </a:accent4>
      <a:accent5>
        <a:srgbClr val="F30617"/>
      </a:accent5>
      <a:accent6>
        <a:srgbClr val="808080"/>
      </a:accent6>
      <a:hlink>
        <a:srgbClr val="0DB9E1"/>
      </a:hlink>
      <a:folHlink>
        <a:srgbClr val="82828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IT Align Ignite Deliver">
  <a:themeElements>
    <a:clrScheme name="JJ colors">
      <a:dk1>
        <a:srgbClr val="000000"/>
      </a:dk1>
      <a:lt1>
        <a:srgbClr val="FFFFFF"/>
      </a:lt1>
      <a:dk2>
        <a:srgbClr val="000000"/>
      </a:dk2>
      <a:lt2>
        <a:srgbClr val="FFFFFF"/>
      </a:lt2>
      <a:accent1>
        <a:srgbClr val="E5E5E5"/>
      </a:accent1>
      <a:accent2>
        <a:srgbClr val="12C2E9"/>
      </a:accent2>
      <a:accent3>
        <a:srgbClr val="595959"/>
      </a:accent3>
      <a:accent4>
        <a:srgbClr val="0A8CAA"/>
      </a:accent4>
      <a:accent5>
        <a:srgbClr val="F30617"/>
      </a:accent5>
      <a:accent6>
        <a:srgbClr val="808080"/>
      </a:accent6>
      <a:hlink>
        <a:srgbClr val="0DB9E1"/>
      </a:hlink>
      <a:folHlink>
        <a:srgbClr val="82828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ITAS 2016 KO-GSD-Linskey Town Hall">
  <a:themeElements>
    <a:clrScheme name="JJ colors">
      <a:dk1>
        <a:srgbClr val="000000"/>
      </a:dk1>
      <a:lt1>
        <a:srgbClr val="FFFFFF"/>
      </a:lt1>
      <a:dk2>
        <a:srgbClr val="000000"/>
      </a:dk2>
      <a:lt2>
        <a:srgbClr val="FFFFFF"/>
      </a:lt2>
      <a:accent1>
        <a:srgbClr val="E5E5E5"/>
      </a:accent1>
      <a:accent2>
        <a:srgbClr val="12C2E9"/>
      </a:accent2>
      <a:accent3>
        <a:srgbClr val="595959"/>
      </a:accent3>
      <a:accent4>
        <a:srgbClr val="0A8CAA"/>
      </a:accent4>
      <a:accent5>
        <a:srgbClr val="F30617"/>
      </a:accent5>
      <a:accent6>
        <a:srgbClr val="808080"/>
      </a:accent6>
      <a:hlink>
        <a:srgbClr val="0DB9E1"/>
      </a:hlink>
      <a:folHlink>
        <a:srgbClr val="82828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C47FF0A7006494CA0953A2CB6DEA902" ma:contentTypeVersion="14" ma:contentTypeDescription="Create a new document." ma:contentTypeScope="" ma:versionID="2ba947468da8c2eb257a3502d0d3b1e1">
  <xsd:schema xmlns:xsd="http://www.w3.org/2001/XMLSchema" xmlns:xs="http://www.w3.org/2001/XMLSchema" xmlns:p="http://schemas.microsoft.com/office/2006/metadata/properties" xmlns:ns2="12aec079-8188-49c0-b00d-bccf5551133e" xmlns:ns3="11a2f349-6de9-44d6-8a8e-53409bbddbc9" targetNamespace="http://schemas.microsoft.com/office/2006/metadata/properties" ma:root="true" ma:fieldsID="6ff50b712f8081382dc01a4eb9446d2a" ns2:_="" ns3:_="">
    <xsd:import namespace="12aec079-8188-49c0-b00d-bccf5551133e"/>
    <xsd:import namespace="11a2f349-6de9-44d6-8a8e-53409bbddbc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DocumentType"/>
                <xsd:element ref="ns2:ProjectPhase"/>
                <xsd:element ref="ns2:MediaServiceAutoKeyPoints" minOccurs="0"/>
                <xsd:element ref="ns2:MediaServiceKeyPoint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aec079-8188-49c0-b00d-bccf5551133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DocumentType" ma:index="12" ma:displayName="Document Type" ma:format="Dropdown" ma:internalName="DocumentType">
      <xsd:simpleType>
        <xsd:restriction base="dms:Choice">
          <xsd:enumeration value="Template"/>
          <xsd:enumeration value="Reference"/>
          <xsd:enumeration value="RPA SOP"/>
          <xsd:enumeration value="RPA WI"/>
        </xsd:restriction>
      </xsd:simpleType>
    </xsd:element>
    <xsd:element name="ProjectPhase" ma:index="13" ma:displayName="Project Phase" ma:format="Dropdown" ma:internalName="ProjectPhase">
      <xsd:simpleType>
        <xsd:restriction base="dms:Choice">
          <xsd:enumeration value="1. Assess and Analyze"/>
          <xsd:enumeration value="2. Design"/>
          <xsd:enumeration value="3. Build"/>
          <xsd:enumeration value="4. Test"/>
          <xsd:enumeration value="5. Release and Operate"/>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1a2f349-6de9-44d6-8a8e-53409bbddbc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11a2f349-6de9-44d6-8a8e-53409bbddbc9">
      <UserInfo>
        <DisplayName>Satruc, Serban [ITSUS]</DisplayName>
        <AccountId>276</AccountId>
        <AccountType/>
      </UserInfo>
    </SharedWithUsers>
    <ProjectPhase xmlns="12aec079-8188-49c0-b00d-bccf5551133e"/>
    <DocumentType xmlns="12aec079-8188-49c0-b00d-bccf5551133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D682484-BD4B-4553-AA31-3CA917029A2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2aec079-8188-49c0-b00d-bccf5551133e"/>
    <ds:schemaRef ds:uri="11a2f349-6de9-44d6-8a8e-53409bbddb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8A7E31B-B07F-409E-BA95-F524E36E4D59}">
  <ds:schemaRefs>
    <ds:schemaRef ds:uri="http://schemas.microsoft.com/office/2006/metadata/properties"/>
    <ds:schemaRef ds:uri="http://schemas.microsoft.com/office/infopath/2007/PartnerControls"/>
    <ds:schemaRef ds:uri="11a2f349-6de9-44d6-8a8e-53409bbddbc9"/>
    <ds:schemaRef ds:uri="12aec079-8188-49c0-b00d-bccf5551133e"/>
  </ds:schemaRefs>
</ds:datastoreItem>
</file>

<file path=customXml/itemProps3.xml><?xml version="1.0" encoding="utf-8"?>
<ds:datastoreItem xmlns:ds="http://schemas.openxmlformats.org/officeDocument/2006/customXml" ds:itemID="{E3384474-313F-47C9-82F2-4CB4F2246C3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5075 IT VP Event_092515b.potx</Template>
  <TotalTime>34334</TotalTime>
  <Words>1387</Words>
  <Application>Microsoft Office PowerPoint</Application>
  <PresentationFormat>Custom</PresentationFormat>
  <Paragraphs>222</Paragraphs>
  <Slides>10</Slides>
  <Notes>0</Notes>
  <HiddenSlides>0</HiddenSlides>
  <MMClips>0</MMClips>
  <ScaleCrop>false</ScaleCrop>
  <HeadingPairs>
    <vt:vector size="4" baseType="variant">
      <vt:variant>
        <vt:lpstr>Theme</vt:lpstr>
      </vt:variant>
      <vt:variant>
        <vt:i4>4</vt:i4>
      </vt:variant>
      <vt:variant>
        <vt:lpstr>Slide Titles</vt:lpstr>
      </vt:variant>
      <vt:variant>
        <vt:i4>10</vt:i4>
      </vt:variant>
    </vt:vector>
  </HeadingPairs>
  <TitlesOfParts>
    <vt:vector size="14" baseType="lpstr">
      <vt:lpstr>Office Theme</vt:lpstr>
      <vt:lpstr>IT Align Ignite Deliver</vt:lpstr>
      <vt:lpstr>1_IT Align Ignite Deliver</vt:lpstr>
      <vt:lpstr>ITAS 2016 KO-GSD-Linskey Town Hall</vt:lpstr>
      <vt:lpstr>PowerPoint Presentation</vt:lpstr>
      <vt:lpstr>High Level Operations Process Overview</vt:lpstr>
      <vt:lpstr>Service Request Submission</vt:lpstr>
      <vt:lpstr>Incident Reporting</vt:lpstr>
      <vt:lpstr>Small Enhancement Categorization Criteria</vt:lpstr>
      <vt:lpstr>Supported Activities</vt:lpstr>
      <vt:lpstr>Support Medal &amp; SLA</vt:lpstr>
      <vt:lpstr>Annual Operational Costs</vt:lpstr>
      <vt:lpstr>Team Roles and Responsibilities</vt:lpstr>
      <vt:lpstr>Key Points of Contact</vt:lpstr>
    </vt:vector>
  </TitlesOfParts>
  <Company>Johnson &amp; Johns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ntzias, Stamatis [JNJCH]</dc:creator>
  <cp:lastModifiedBy>Satruc, Serban [ITSUS]</cp:lastModifiedBy>
  <cp:revision>830</cp:revision>
  <cp:lastPrinted>2017-04-21T20:20:49Z</cp:lastPrinted>
  <dcterms:created xsi:type="dcterms:W3CDTF">2014-10-15T18:45:37Z</dcterms:created>
  <dcterms:modified xsi:type="dcterms:W3CDTF">2024-09-10T07:3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47FF0A7006494CA0953A2CB6DEA902</vt:lpwstr>
  </property>
  <property fmtid="{D5CDD505-2E9C-101B-9397-08002B2CF9AE}" pid="3" name="MSIP_Label_0a85929b-232e-42d6-98ae-ef1aa01cbfa4_Enabled">
    <vt:lpwstr>true</vt:lpwstr>
  </property>
  <property fmtid="{D5CDD505-2E9C-101B-9397-08002B2CF9AE}" pid="4" name="MSIP_Label_0a85929b-232e-42d6-98ae-ef1aa01cbfa4_SetDate">
    <vt:lpwstr>2022-11-28T14:05:25Z</vt:lpwstr>
  </property>
  <property fmtid="{D5CDD505-2E9C-101B-9397-08002B2CF9AE}" pid="5" name="MSIP_Label_0a85929b-232e-42d6-98ae-ef1aa01cbfa4_Method">
    <vt:lpwstr>Standard</vt:lpwstr>
  </property>
  <property fmtid="{D5CDD505-2E9C-101B-9397-08002B2CF9AE}" pid="6" name="MSIP_Label_0a85929b-232e-42d6-98ae-ef1aa01cbfa4_Name">
    <vt:lpwstr>Not Sensitive</vt:lpwstr>
  </property>
  <property fmtid="{D5CDD505-2E9C-101B-9397-08002B2CF9AE}" pid="7" name="MSIP_Label_0a85929b-232e-42d6-98ae-ef1aa01cbfa4_SiteId">
    <vt:lpwstr>3ac94b33-9135-4821-9502-eafda6592a35</vt:lpwstr>
  </property>
  <property fmtid="{D5CDD505-2E9C-101B-9397-08002B2CF9AE}" pid="8" name="MSIP_Label_0a85929b-232e-42d6-98ae-ef1aa01cbfa4_ActionId">
    <vt:lpwstr>1c477bc1-46df-46e7-abfd-faff8b2c823d</vt:lpwstr>
  </property>
  <property fmtid="{D5CDD505-2E9C-101B-9397-08002B2CF9AE}" pid="9" name="MSIP_Label_0a85929b-232e-42d6-98ae-ef1aa01cbfa4_ContentBits">
    <vt:lpwstr>0</vt:lpwstr>
  </property>
</Properties>
</file>